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96" r:id="rId5"/>
  </p:sldMasterIdLst>
  <p:notesMasterIdLst>
    <p:notesMasterId r:id="rId24"/>
  </p:notesMasterIdLst>
  <p:sldIdLst>
    <p:sldId id="256" r:id="rId6"/>
    <p:sldId id="2143677513" r:id="rId7"/>
    <p:sldId id="2145707675" r:id="rId8"/>
    <p:sldId id="261" r:id="rId9"/>
    <p:sldId id="2145707676" r:id="rId10"/>
    <p:sldId id="2145707666" r:id="rId11"/>
    <p:sldId id="2145707669" r:id="rId12"/>
    <p:sldId id="2145707677" r:id="rId13"/>
    <p:sldId id="310" r:id="rId14"/>
    <p:sldId id="2145707657" r:id="rId15"/>
    <p:sldId id="2145707680" r:id="rId16"/>
    <p:sldId id="2145707678" r:id="rId17"/>
    <p:sldId id="320" r:id="rId18"/>
    <p:sldId id="2145707679" r:id="rId19"/>
    <p:sldId id="2145707683" r:id="rId20"/>
    <p:sldId id="2145707684" r:id="rId21"/>
    <p:sldId id="2145707681" r:id="rId22"/>
    <p:sldId id="2145707682" r:id="rId2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8A614E7-DCCA-4B2A-8D52-8F5BD74D6415}" v="1" dt="2024-06-06T11:37:22.53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404" autoAdjust="0"/>
    <p:restoredTop sz="79490" autoAdjust="0"/>
  </p:normalViewPr>
  <p:slideViewPr>
    <p:cSldViewPr snapToGrid="0">
      <p:cViewPr varScale="1">
        <p:scale>
          <a:sx n="82" d="100"/>
          <a:sy n="82" d="100"/>
        </p:scale>
        <p:origin x="1254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ian Dyrdal" userId="2cd5bb96-13c7-4e1b-8d08-df85ecfe7868" providerId="ADAL" clId="{28A614E7-DCCA-4B2A-8D52-8F5BD74D6415}"/>
    <pc:docChg chg="custSel modSld">
      <pc:chgData name="Stian Dyrdal" userId="2cd5bb96-13c7-4e1b-8d08-df85ecfe7868" providerId="ADAL" clId="{28A614E7-DCCA-4B2A-8D52-8F5BD74D6415}" dt="2024-06-06T11:37:25.882" v="4" actId="1076"/>
      <pc:docMkLst>
        <pc:docMk/>
      </pc:docMkLst>
      <pc:sldChg chg="addSp delSp modSp mod">
        <pc:chgData name="Stian Dyrdal" userId="2cd5bb96-13c7-4e1b-8d08-df85ecfe7868" providerId="ADAL" clId="{28A614E7-DCCA-4B2A-8D52-8F5BD74D6415}" dt="2024-06-06T11:37:25.882" v="4" actId="1076"/>
        <pc:sldMkLst>
          <pc:docMk/>
          <pc:sldMk cId="1871941588" sldId="2145707657"/>
        </pc:sldMkLst>
        <pc:spChg chg="add del mod">
          <ac:chgData name="Stian Dyrdal" userId="2cd5bb96-13c7-4e1b-8d08-df85ecfe7868" providerId="ADAL" clId="{28A614E7-DCCA-4B2A-8D52-8F5BD74D6415}" dt="2024-06-06T11:37:15.731" v="1" actId="478"/>
          <ac:spMkLst>
            <pc:docMk/>
            <pc:sldMk cId="1871941588" sldId="2145707657"/>
            <ac:spMk id="9" creationId="{6240A91B-9B9C-CE4D-B208-4F840D9B8879}"/>
          </ac:spMkLst>
        </pc:spChg>
        <pc:picChg chg="del">
          <ac:chgData name="Stian Dyrdal" userId="2cd5bb96-13c7-4e1b-8d08-df85ecfe7868" providerId="ADAL" clId="{28A614E7-DCCA-4B2A-8D52-8F5BD74D6415}" dt="2024-06-06T11:37:13.835" v="0" actId="478"/>
          <ac:picMkLst>
            <pc:docMk/>
            <pc:sldMk cId="1871941588" sldId="2145707657"/>
            <ac:picMk id="6" creationId="{52CB9950-4B17-6BDC-5953-08CB23C5527D}"/>
          </ac:picMkLst>
        </pc:picChg>
        <pc:picChg chg="add mod">
          <ac:chgData name="Stian Dyrdal" userId="2cd5bb96-13c7-4e1b-8d08-df85ecfe7868" providerId="ADAL" clId="{28A614E7-DCCA-4B2A-8D52-8F5BD74D6415}" dt="2024-06-06T11:37:25.882" v="4" actId="1076"/>
          <ac:picMkLst>
            <pc:docMk/>
            <pc:sldMk cId="1871941588" sldId="2145707657"/>
            <ac:picMk id="10" creationId="{D4A46CA8-3E6F-9461-8421-D4C7E3CFEFC2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A00BB8-3F1B-4DA1-995D-CDBAD1FF7BC1}" type="datetimeFigureOut">
              <a:rPr lang="nb-NO" smtClean="0"/>
              <a:t>06.06.2024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768617-0EDA-4607-A60A-3C5935F0F2D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525716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768617-0EDA-4607-A60A-3C5935F0F2D3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662516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1200" dirty="0">
                <a:solidFill>
                  <a:srgbClr val="124442"/>
                </a:solidFill>
                <a:latin typeface="atyp-text-medium"/>
              </a:rPr>
              <a:t>Større energiselskap, eller teknologiselskap,</a:t>
            </a:r>
          </a:p>
          <a:p>
            <a:r>
              <a:rPr lang="nb-NO" sz="1200" dirty="0">
                <a:solidFill>
                  <a:srgbClr val="124442"/>
                </a:solidFill>
                <a:latin typeface="atyp-text-medium"/>
              </a:rPr>
              <a:t>Har 40 vannkraftverk og noe vindkraft. Ambisjon om 10TWh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53A5F6-6149-406E-83AB-E7AF74290818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06543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Hvorfor gjør vi dette?</a:t>
            </a:r>
          </a:p>
          <a:p>
            <a:r>
              <a:rPr lang="nb-NO" dirty="0"/>
              <a:t>EBL er i teorien «internstandard», ingen videre utvikling fra bransje/organisasjon</a:t>
            </a:r>
          </a:p>
          <a:p>
            <a:r>
              <a:rPr lang="nb-NO" dirty="0"/>
              <a:t>Gruppering, blander om det er en type, funksjon eller produkt. Har opptil 15 magasin flatt under ett vassdrag.</a:t>
            </a:r>
          </a:p>
          <a:p>
            <a:endParaRPr lang="nb-NO" dirty="0"/>
          </a:p>
          <a:p>
            <a:r>
              <a:rPr lang="nb-NO" dirty="0"/>
              <a:t>RDS – </a:t>
            </a:r>
          </a:p>
          <a:p>
            <a:r>
              <a:rPr lang="nb-NO" dirty="0"/>
              <a:t>Innebygd logikk i hierarkiet</a:t>
            </a:r>
          </a:p>
          <a:p>
            <a:r>
              <a:rPr lang="nb-NO" dirty="0"/>
              <a:t>aspekter som gjør at man kan knytte til all slags informasjon</a:t>
            </a:r>
          </a:p>
          <a:p>
            <a:r>
              <a:rPr lang="nb-NO" dirty="0"/>
              <a:t>Relasjoner</a:t>
            </a:r>
          </a:p>
          <a:p>
            <a:r>
              <a:rPr lang="nb-NO" dirty="0" err="1"/>
              <a:t>Informasjonslaget</a:t>
            </a:r>
            <a:r>
              <a:rPr lang="nb-NO" dirty="0"/>
              <a:t> – grunnlag for dataflyt (uten enorm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768617-0EDA-4607-A60A-3C5935F0F2D3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873996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Selskapene som gikk sammen, god tyngde, viktig å være flere og ha litt makt. Resten følger etter når man ser verdiene.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0F5B94-24E8-4CEE-AB65-B3EF63DEA16E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377619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53A5F6-6149-406E-83AB-E7AF74290818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12717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Nyeste fokusområde for oss er relasjoner</a:t>
            </a:r>
          </a:p>
          <a:p>
            <a:r>
              <a:rPr lang="nb-NO" dirty="0"/>
              <a:t>Relasjoner er veldig viktig, spesielt relasjoner mellom funksjoner men også relasjoner på tvers av aspekter..</a:t>
            </a:r>
          </a:p>
          <a:p>
            <a:endParaRPr lang="nb-NO" dirty="0"/>
          </a:p>
          <a:p>
            <a:r>
              <a:rPr lang="nb-NO" dirty="0"/>
              <a:t>2 sommerstudenter – bygge relasjonsdatabase som viser hvordan alle funksjoner i reguleringssystemet henger sammen.</a:t>
            </a:r>
          </a:p>
          <a:p>
            <a:r>
              <a:rPr lang="nb-NO" dirty="0"/>
              <a:t>Dette vil gi oss en veldig god modell for å beregne vannhusholdning og øke verdien av «vannet».</a:t>
            </a:r>
          </a:p>
          <a:p>
            <a:endParaRPr lang="nb-NO" dirty="0"/>
          </a:p>
          <a:p>
            <a:r>
              <a:rPr lang="nb-NO" dirty="0"/>
              <a:t>Bare hvis nødvendig – åpenbare knytninger trenger ikke relasjon – må kunne leses av en programva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53A5F6-6149-406E-83AB-E7AF74290818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91700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Så hva er forskjellen mellom produkt og funksjon</a:t>
            </a:r>
          </a:p>
          <a:p>
            <a:pPr marL="171450" indent="-171450">
              <a:buFontTx/>
              <a:buChar char="-"/>
            </a:pPr>
            <a:r>
              <a:rPr lang="nb-NO" dirty="0"/>
              <a:t>Sikkert mange tanker her, forskjellig for flere</a:t>
            </a:r>
          </a:p>
          <a:p>
            <a:pPr marL="171450" indent="-171450">
              <a:buFontTx/>
              <a:buChar char="-"/>
            </a:pPr>
            <a:r>
              <a:rPr lang="nb-NO" dirty="0"/>
              <a:t>Basert oss på en «bransjetanke» basert på Statkraf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53A5F6-6149-406E-83AB-E7AF74290818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0791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sv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svg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16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rs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k 10">
            <a:extLst>
              <a:ext uri="{FF2B5EF4-FFF2-40B4-BE49-F238E27FC236}">
                <a16:creationId xmlns:a16="http://schemas.microsoft.com/office/drawing/2014/main" id="{ACDFD72E-48D5-4E46-94D8-6941EEE20E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b="61625"/>
          <a:stretch>
            <a:fillRect/>
          </a:stretch>
        </p:blipFill>
        <p:spPr>
          <a:xfrm>
            <a:off x="5044180" y="3219847"/>
            <a:ext cx="9483687" cy="3638154"/>
          </a:xfrm>
          <a:custGeom>
            <a:avLst/>
            <a:gdLst>
              <a:gd name="connsiteX0" fmla="*/ 0 w 18961200"/>
              <a:gd name="connsiteY0" fmla="*/ 0 h 7276307"/>
              <a:gd name="connsiteX1" fmla="*/ 18961200 w 18961200"/>
              <a:gd name="connsiteY1" fmla="*/ 0 h 7276307"/>
              <a:gd name="connsiteX2" fmla="*/ 18961200 w 18961200"/>
              <a:gd name="connsiteY2" fmla="*/ 265906 h 7276307"/>
              <a:gd name="connsiteX3" fmla="*/ 14290984 w 18961200"/>
              <a:gd name="connsiteY3" fmla="*/ 265906 h 7276307"/>
              <a:gd name="connsiteX4" fmla="*/ 14290984 w 18961200"/>
              <a:gd name="connsiteY4" fmla="*/ 7276307 h 7276307"/>
              <a:gd name="connsiteX5" fmla="*/ 0 w 18961200"/>
              <a:gd name="connsiteY5" fmla="*/ 7276307 h 72763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961200" h="7276307">
                <a:moveTo>
                  <a:pt x="0" y="0"/>
                </a:moveTo>
                <a:lnTo>
                  <a:pt x="18961200" y="0"/>
                </a:lnTo>
                <a:lnTo>
                  <a:pt x="18961200" y="265906"/>
                </a:lnTo>
                <a:lnTo>
                  <a:pt x="14290984" y="265906"/>
                </a:lnTo>
                <a:lnTo>
                  <a:pt x="14290984" y="7276307"/>
                </a:lnTo>
                <a:lnTo>
                  <a:pt x="0" y="7276307"/>
                </a:lnTo>
                <a:close/>
              </a:path>
            </a:pathLst>
          </a:custGeom>
        </p:spPr>
      </p:pic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4C11C648-6B75-4DA5-8BD7-1F031025D7A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/>
          <a:lstStyle/>
          <a:p>
            <a:fld id="{3129ECF1-F0D3-4CD8-9C78-0C81B2D5F5E5}" type="datetimeFigureOut">
              <a:rPr lang="nb-NO" smtClean="0"/>
              <a:t>06.06.2024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A44FEBC8-D211-40A1-BEB1-B9EA43D846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86780" y="-120060"/>
            <a:ext cx="4114800" cy="15389"/>
          </a:xfrm>
        </p:spPr>
        <p:txBody>
          <a:bodyPr/>
          <a:lstStyle>
            <a:lvl1pPr>
              <a:defRPr sz="100"/>
            </a:lvl1pPr>
          </a:lstStyle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8038EAC5-513F-4D2F-A2EF-0E038DD282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246419" y="-120060"/>
            <a:ext cx="226749" cy="15389"/>
          </a:xfrm>
        </p:spPr>
        <p:txBody>
          <a:bodyPr/>
          <a:lstStyle>
            <a:lvl1pPr>
              <a:defRPr sz="100"/>
            </a:lvl1pPr>
          </a:lstStyle>
          <a:p>
            <a:fld id="{4409EF66-46AA-4080-844D-5B92F1A6B3C3}" type="slidenum">
              <a:rPr lang="nb-NO" smtClean="0"/>
              <a:t>‹#›</a:t>
            </a:fld>
            <a:endParaRPr lang="nb-NO"/>
          </a:p>
        </p:txBody>
      </p:sp>
      <p:pic>
        <p:nvPicPr>
          <p:cNvPr id="13" name="Grafikk 12">
            <a:extLst>
              <a:ext uri="{FF2B5EF4-FFF2-40B4-BE49-F238E27FC236}">
                <a16:creationId xmlns:a16="http://schemas.microsoft.com/office/drawing/2014/main" id="{B7107424-58FD-4F79-B78E-06DB8752C28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21086" y="2211343"/>
            <a:ext cx="6149828" cy="230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09979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, tekst og bilde vens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6962" y="479338"/>
            <a:ext cx="4795863" cy="775597"/>
          </a:xfrm>
        </p:spPr>
        <p:txBody>
          <a:bodyPr lIns="0" tIns="0" rIns="0" bIns="0"/>
          <a:lstStyle>
            <a:lvl1pPr algn="r">
              <a:defRPr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56961" y="1657985"/>
            <a:ext cx="4795862" cy="4351338"/>
          </a:xfrm>
        </p:spPr>
        <p:txBody>
          <a:bodyPr lIns="0" tIns="0" rIns="0" bIns="0"/>
          <a:lstStyle>
            <a:lvl1pPr marL="0" indent="0" algn="r">
              <a:buNone/>
              <a:defRPr/>
            </a:lvl1pPr>
            <a:lvl2pPr marL="456880" indent="0" algn="r">
              <a:buNone/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3129ECF1-F0D3-4CD8-9C78-0C81B2D5F5E5}" type="datetimeFigureOut">
              <a:rPr lang="nb-NO" smtClean="0"/>
              <a:t>06.06.2024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4409EF66-46AA-4080-844D-5B92F1A6B3C3}" type="slidenum">
              <a:rPr lang="nb-NO" smtClean="0"/>
              <a:t>‹#›</a:t>
            </a:fld>
            <a:endParaRPr lang="nb-NO"/>
          </a:p>
        </p:txBody>
      </p:sp>
      <p:sp>
        <p:nvSpPr>
          <p:cNvPr id="12" name="Plassholder for bilde 10">
            <a:extLst>
              <a:ext uri="{FF2B5EF4-FFF2-40B4-BE49-F238E27FC236}">
                <a16:creationId xmlns:a16="http://schemas.microsoft.com/office/drawing/2014/main" id="{DAE6DE27-3EBD-4DDC-B23B-4C9991C4A14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54114" y="254029"/>
            <a:ext cx="5717221" cy="6350400"/>
          </a:xfrm>
          <a:prstGeom prst="roundRect">
            <a:avLst>
              <a:gd name="adj" fmla="val 2216"/>
            </a:avLst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809038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, tekst og to bilder vens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6962" y="479338"/>
            <a:ext cx="4795863" cy="775597"/>
          </a:xfrm>
        </p:spPr>
        <p:txBody>
          <a:bodyPr lIns="0" tIns="0" rIns="0" bIns="0"/>
          <a:lstStyle>
            <a:lvl1pPr algn="r">
              <a:defRPr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56961" y="1657985"/>
            <a:ext cx="4795862" cy="4351338"/>
          </a:xfrm>
        </p:spPr>
        <p:txBody>
          <a:bodyPr lIns="0" tIns="0" rIns="0" bIns="0"/>
          <a:lstStyle>
            <a:lvl1pPr marL="0" indent="0" algn="r">
              <a:buNone/>
              <a:defRPr/>
            </a:lvl1pPr>
            <a:lvl2pPr marL="456880" indent="0" algn="r">
              <a:buNone/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3129ECF1-F0D3-4CD8-9C78-0C81B2D5F5E5}" type="datetimeFigureOut">
              <a:rPr lang="nb-NO" smtClean="0"/>
              <a:t>06.06.2024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4409EF66-46AA-4080-844D-5B92F1A6B3C3}" type="slidenum">
              <a:rPr lang="nb-NO" smtClean="0"/>
              <a:t>‹#›</a:t>
            </a:fld>
            <a:endParaRPr lang="nb-NO"/>
          </a:p>
        </p:txBody>
      </p:sp>
      <p:sp>
        <p:nvSpPr>
          <p:cNvPr id="13" name="Plassholder for bilde 10">
            <a:extLst>
              <a:ext uri="{FF2B5EF4-FFF2-40B4-BE49-F238E27FC236}">
                <a16:creationId xmlns:a16="http://schemas.microsoft.com/office/drawing/2014/main" id="{D4F8CD3F-A2C3-4DD6-92A0-C47DB8B0972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54113" y="254029"/>
            <a:ext cx="2795086" cy="6350400"/>
          </a:xfrm>
          <a:prstGeom prst="roundRect">
            <a:avLst>
              <a:gd name="adj" fmla="val 4670"/>
            </a:avLst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14" name="Plassholder for bilde 10">
            <a:extLst>
              <a:ext uri="{FF2B5EF4-FFF2-40B4-BE49-F238E27FC236}">
                <a16:creationId xmlns:a16="http://schemas.microsoft.com/office/drawing/2014/main" id="{859D9760-8ED2-4609-A387-EA80109D6A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176248" y="253800"/>
            <a:ext cx="2795086" cy="6350400"/>
          </a:xfrm>
          <a:prstGeom prst="roundRect">
            <a:avLst>
              <a:gd name="adj" fmla="val 4670"/>
            </a:avLst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09762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lefon med bilde,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F7A18378-200D-4D3B-9C82-3E7F6B38E378}"/>
              </a:ext>
            </a:extLst>
          </p:cNvPr>
          <p:cNvSpPr/>
          <p:nvPr/>
        </p:nvSpPr>
        <p:spPr>
          <a:xfrm>
            <a:off x="1" y="1562288"/>
            <a:ext cx="12192000" cy="373427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899"/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E2E94261-804D-4088-8A9C-3712CE26C0C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4618531" cy="685885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2542" y="2641130"/>
            <a:ext cx="7690282" cy="387799"/>
          </a:xfrm>
        </p:spPr>
        <p:txBody>
          <a:bodyPr lIns="0" tIns="0" rIns="0" bIns="0" anchor="b"/>
          <a:lstStyle>
            <a:lvl1pPr algn="l"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3129ECF1-F0D3-4CD8-9C78-0C81B2D5F5E5}" type="datetimeFigureOut">
              <a:rPr lang="nb-NO" smtClean="0"/>
              <a:t>06.06.2024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4409EF66-46AA-4080-844D-5B92F1A6B3C3}" type="slidenum">
              <a:rPr lang="nb-NO" smtClean="0"/>
              <a:t>‹#›</a:t>
            </a:fld>
            <a:endParaRPr lang="nb-NO"/>
          </a:p>
        </p:txBody>
      </p:sp>
      <p:sp>
        <p:nvSpPr>
          <p:cNvPr id="15" name="Plassholder for bilde 10">
            <a:extLst>
              <a:ext uri="{FF2B5EF4-FFF2-40B4-BE49-F238E27FC236}">
                <a16:creationId xmlns:a16="http://schemas.microsoft.com/office/drawing/2014/main" id="{E4BA04C0-646F-4FD0-BAA7-EC427C6A83D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41984" y="1143143"/>
            <a:ext cx="2134295" cy="4572000"/>
          </a:xfrm>
          <a:prstGeom prst="roundRect">
            <a:avLst>
              <a:gd name="adj" fmla="val 11991"/>
            </a:avLst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12" name="Plassholder for tekst 11">
            <a:extLst>
              <a:ext uri="{FF2B5EF4-FFF2-40B4-BE49-F238E27FC236}">
                <a16:creationId xmlns:a16="http://schemas.microsoft.com/office/drawing/2014/main" id="{E4A6BEA6-98E8-4622-A7D9-799C1E6E8F9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62542" y="3238501"/>
            <a:ext cx="7690281" cy="167639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 b="0" i="0" u="none" cap="none">
                <a:solidFill>
                  <a:schemeClr val="lt1"/>
                </a:solidFill>
                <a:latin typeface="+mn-lt"/>
              </a:defRPr>
            </a:lvl1pPr>
            <a:lvl2pPr algn="l">
              <a:defRPr>
                <a:solidFill>
                  <a:schemeClr val="lt1"/>
                </a:solidFill>
              </a:defRPr>
            </a:lvl2pPr>
            <a:lvl3pPr algn="l">
              <a:defRPr>
                <a:solidFill>
                  <a:schemeClr val="lt1"/>
                </a:solidFill>
              </a:defRPr>
            </a:lvl3pPr>
            <a:lvl4pPr algn="l">
              <a:defRPr>
                <a:solidFill>
                  <a:schemeClr val="lt1"/>
                </a:solidFill>
              </a:defRPr>
            </a:lvl4pPr>
            <a:lvl5pPr algn="l">
              <a:defRPr>
                <a:solidFill>
                  <a:schemeClr val="lt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40722154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ptop med bilde,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F7A18378-200D-4D3B-9C82-3E7F6B38E378}"/>
              </a:ext>
            </a:extLst>
          </p:cNvPr>
          <p:cNvSpPr/>
          <p:nvPr/>
        </p:nvSpPr>
        <p:spPr>
          <a:xfrm>
            <a:off x="0" y="1"/>
            <a:ext cx="12192001" cy="342942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899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0" y="2888780"/>
            <a:ext cx="5456824" cy="387799"/>
          </a:xfrm>
        </p:spPr>
        <p:txBody>
          <a:bodyPr lIns="0" tIns="0" rIns="0" bIns="0" anchor="b"/>
          <a:lstStyle>
            <a:lvl1pPr algn="r"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3129ECF1-F0D3-4CD8-9C78-0C81B2D5F5E5}" type="datetimeFigureOut">
              <a:rPr lang="nb-NO" smtClean="0"/>
              <a:t>06.06.2024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4409EF66-46AA-4080-844D-5B92F1A6B3C3}" type="slidenum">
              <a:rPr lang="nb-NO" smtClean="0"/>
              <a:t>‹#›</a:t>
            </a:fld>
            <a:endParaRPr lang="nb-NO"/>
          </a:p>
        </p:txBody>
      </p:sp>
      <p:sp>
        <p:nvSpPr>
          <p:cNvPr id="12" name="Plassholder for tekst 11">
            <a:extLst>
              <a:ext uri="{FF2B5EF4-FFF2-40B4-BE49-F238E27FC236}">
                <a16:creationId xmlns:a16="http://schemas.microsoft.com/office/drawing/2014/main" id="{E4A6BEA6-98E8-4622-A7D9-799C1E6E8F9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5999" y="3647013"/>
            <a:ext cx="5456824" cy="1676399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 b="0" i="0" u="none" cap="none">
                <a:solidFill>
                  <a:schemeClr val="dk2"/>
                </a:solidFill>
                <a:latin typeface="+mn-lt"/>
              </a:defRPr>
            </a:lvl1pPr>
            <a:lvl2pPr algn="l">
              <a:defRPr>
                <a:solidFill>
                  <a:schemeClr val="lt1"/>
                </a:solidFill>
              </a:defRPr>
            </a:lvl2pPr>
            <a:lvl3pPr algn="l">
              <a:defRPr>
                <a:solidFill>
                  <a:schemeClr val="lt1"/>
                </a:solidFill>
              </a:defRPr>
            </a:lvl3pPr>
            <a:lvl4pPr algn="l">
              <a:defRPr>
                <a:solidFill>
                  <a:schemeClr val="lt1"/>
                </a:solidFill>
              </a:defRPr>
            </a:lvl4pPr>
            <a:lvl5pPr algn="l">
              <a:defRPr>
                <a:solidFill>
                  <a:schemeClr val="lt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17" name="Bilde 16">
            <a:extLst>
              <a:ext uri="{FF2B5EF4-FFF2-40B4-BE49-F238E27FC236}">
                <a16:creationId xmlns:a16="http://schemas.microsoft.com/office/drawing/2014/main" id="{024CDCE0-F61C-4E3C-8F17-E8927F2AB85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894634" cy="6858858"/>
          </a:xfrm>
          <a:prstGeom prst="rect">
            <a:avLst/>
          </a:prstGeom>
        </p:spPr>
      </p:pic>
      <p:sp>
        <p:nvSpPr>
          <p:cNvPr id="24" name="Plassholder for bilde 23">
            <a:extLst>
              <a:ext uri="{FF2B5EF4-FFF2-40B4-BE49-F238E27FC236}">
                <a16:creationId xmlns:a16="http://schemas.microsoft.com/office/drawing/2014/main" id="{71F7D898-20FD-4355-8038-25DDFFF5874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672168"/>
            <a:ext cx="5210896" cy="3640088"/>
          </a:xfrm>
          <a:custGeom>
            <a:avLst/>
            <a:gdLst>
              <a:gd name="connsiteX0" fmla="*/ 0 w 10418400"/>
              <a:gd name="connsiteY0" fmla="*/ 0 h 7280175"/>
              <a:gd name="connsiteX1" fmla="*/ 243231 w 10418400"/>
              <a:gd name="connsiteY1" fmla="*/ 0 h 7280175"/>
              <a:gd name="connsiteX2" fmla="*/ 723900 w 10418400"/>
              <a:gd name="connsiteY2" fmla="*/ 0 h 7280175"/>
              <a:gd name="connsiteX3" fmla="*/ 10175169 w 10418400"/>
              <a:gd name="connsiteY3" fmla="*/ 0 h 7280175"/>
              <a:gd name="connsiteX4" fmla="*/ 10418400 w 10418400"/>
              <a:gd name="connsiteY4" fmla="*/ 243231 h 7280175"/>
              <a:gd name="connsiteX5" fmla="*/ 10418400 w 10418400"/>
              <a:gd name="connsiteY5" fmla="*/ 7036944 h 7280175"/>
              <a:gd name="connsiteX6" fmla="*/ 10175169 w 10418400"/>
              <a:gd name="connsiteY6" fmla="*/ 7280175 h 7280175"/>
              <a:gd name="connsiteX7" fmla="*/ 723900 w 10418400"/>
              <a:gd name="connsiteY7" fmla="*/ 7280175 h 7280175"/>
              <a:gd name="connsiteX8" fmla="*/ 243231 w 10418400"/>
              <a:gd name="connsiteY8" fmla="*/ 7280175 h 7280175"/>
              <a:gd name="connsiteX9" fmla="*/ 0 w 10418400"/>
              <a:gd name="connsiteY9" fmla="*/ 7280175 h 7280175"/>
              <a:gd name="connsiteX10" fmla="*/ 0 w 10418400"/>
              <a:gd name="connsiteY10" fmla="*/ 7036944 h 7280175"/>
              <a:gd name="connsiteX11" fmla="*/ 0 w 10418400"/>
              <a:gd name="connsiteY11" fmla="*/ 243231 h 7280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18400" h="7280175">
                <a:moveTo>
                  <a:pt x="0" y="0"/>
                </a:moveTo>
                <a:lnTo>
                  <a:pt x="243231" y="0"/>
                </a:lnTo>
                <a:lnTo>
                  <a:pt x="723900" y="0"/>
                </a:lnTo>
                <a:lnTo>
                  <a:pt x="10175169" y="0"/>
                </a:lnTo>
                <a:cubicBezTo>
                  <a:pt x="10309502" y="0"/>
                  <a:pt x="10418400" y="108898"/>
                  <a:pt x="10418400" y="243231"/>
                </a:cubicBezTo>
                <a:lnTo>
                  <a:pt x="10418400" y="7036944"/>
                </a:lnTo>
                <a:cubicBezTo>
                  <a:pt x="10418400" y="7171277"/>
                  <a:pt x="10309502" y="7280175"/>
                  <a:pt x="10175169" y="7280175"/>
                </a:cubicBezTo>
                <a:lnTo>
                  <a:pt x="723900" y="7280175"/>
                </a:lnTo>
                <a:lnTo>
                  <a:pt x="243231" y="7280175"/>
                </a:lnTo>
                <a:lnTo>
                  <a:pt x="0" y="7280175"/>
                </a:lnTo>
                <a:lnTo>
                  <a:pt x="0" y="7036944"/>
                </a:lnTo>
                <a:lnTo>
                  <a:pt x="0" y="243231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07298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rosess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k 6">
            <a:extLst>
              <a:ext uri="{FF2B5EF4-FFF2-40B4-BE49-F238E27FC236}">
                <a16:creationId xmlns:a16="http://schemas.microsoft.com/office/drawing/2014/main" id="{57AF7F2C-3ABD-4B0E-B01E-F6EC1BD748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52198" y="261706"/>
            <a:ext cx="11687604" cy="6349892"/>
          </a:xfrm>
          <a:prstGeom prst="rect">
            <a:avLst/>
          </a:prstGeom>
        </p:spPr>
      </p:pic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EBFF2865-48EB-41EE-BA6F-F27FF7886D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/>
          <a:lstStyle/>
          <a:p>
            <a:fld id="{3129ECF1-F0D3-4CD8-9C78-0C81B2D5F5E5}" type="datetimeFigureOut">
              <a:rPr lang="nb-NO" smtClean="0"/>
              <a:t>06.06.2024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675802EF-3313-4DAD-9E50-7758CF0D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1616A2F1-3466-4B56-8B68-9F2EB48360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09EF66-46AA-4080-844D-5B92F1A6B3C3}" type="slidenum">
              <a:rPr lang="nb-NO" smtClean="0"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6819067D-574C-4E99-BFFF-1F39199E0D8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682248" y="6096768"/>
            <a:ext cx="509753" cy="509588"/>
          </a:xfrm>
          <a:prstGeom prst="rect">
            <a:avLst/>
          </a:prstGeom>
        </p:spPr>
      </p:pic>
      <p:cxnSp>
        <p:nvCxnSpPr>
          <p:cNvPr id="9" name="Rett linje 8">
            <a:extLst>
              <a:ext uri="{FF2B5EF4-FFF2-40B4-BE49-F238E27FC236}">
                <a16:creationId xmlns:a16="http://schemas.microsoft.com/office/drawing/2014/main" id="{BCFA2601-0A65-444B-ADC2-03BAF2DB179B}"/>
              </a:ext>
            </a:extLst>
          </p:cNvPr>
          <p:cNvCxnSpPr/>
          <p:nvPr/>
        </p:nvCxnSpPr>
        <p:spPr>
          <a:xfrm>
            <a:off x="11326075" y="6230128"/>
            <a:ext cx="0" cy="241200"/>
          </a:xfrm>
          <a:prstGeom prst="line">
            <a:avLst/>
          </a:prstGeom>
          <a:ln w="25400">
            <a:solidFill>
              <a:schemeClr val="l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lassholder for tekst 20">
            <a:extLst>
              <a:ext uri="{FF2B5EF4-FFF2-40B4-BE49-F238E27FC236}">
                <a16:creationId xmlns:a16="http://schemas.microsoft.com/office/drawing/2014/main" id="{5E215ED9-1CEB-48EA-B736-43316F5D96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8225" y="1575000"/>
            <a:ext cx="1867622" cy="1867015"/>
          </a:xfrm>
          <a:prstGeom prst="ellipse">
            <a:avLst/>
          </a:prstGeom>
          <a:solidFill>
            <a:schemeClr val="accent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799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#</a:t>
            </a:r>
          </a:p>
        </p:txBody>
      </p:sp>
      <p:sp>
        <p:nvSpPr>
          <p:cNvPr id="27" name="Plassholder for tekst 20">
            <a:extLst>
              <a:ext uri="{FF2B5EF4-FFF2-40B4-BE49-F238E27FC236}">
                <a16:creationId xmlns:a16="http://schemas.microsoft.com/office/drawing/2014/main" id="{E9A6D60F-4B62-4F8D-8126-077BB6071D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59043" y="1575000"/>
            <a:ext cx="1867622" cy="1867015"/>
          </a:xfrm>
          <a:prstGeom prst="ellipse">
            <a:avLst/>
          </a:prstGeom>
          <a:solidFill>
            <a:schemeClr val="accent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799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#</a:t>
            </a:r>
          </a:p>
        </p:txBody>
      </p:sp>
      <p:sp>
        <p:nvSpPr>
          <p:cNvPr id="28" name="Plassholder for tekst 20">
            <a:extLst>
              <a:ext uri="{FF2B5EF4-FFF2-40B4-BE49-F238E27FC236}">
                <a16:creationId xmlns:a16="http://schemas.microsoft.com/office/drawing/2014/main" id="{28B09960-5D12-428F-92E7-C2E5356610D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09862" y="1575000"/>
            <a:ext cx="1867622" cy="1867015"/>
          </a:xfrm>
          <a:prstGeom prst="ellipse">
            <a:avLst/>
          </a:prstGeom>
          <a:solidFill>
            <a:schemeClr val="accent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799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#</a:t>
            </a:r>
          </a:p>
        </p:txBody>
      </p:sp>
      <p:sp>
        <p:nvSpPr>
          <p:cNvPr id="29" name="Plassholder for tekst 20">
            <a:extLst>
              <a:ext uri="{FF2B5EF4-FFF2-40B4-BE49-F238E27FC236}">
                <a16:creationId xmlns:a16="http://schemas.microsoft.com/office/drawing/2014/main" id="{84778EA6-ECA2-4204-BA90-7D966AACB8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83634" y="1575000"/>
            <a:ext cx="1867622" cy="1867015"/>
          </a:xfrm>
          <a:prstGeom prst="ellipse">
            <a:avLst/>
          </a:prstGeom>
          <a:solidFill>
            <a:srgbClr val="554CFD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799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#</a:t>
            </a:r>
          </a:p>
        </p:txBody>
      </p:sp>
      <p:sp>
        <p:nvSpPr>
          <p:cNvPr id="30" name="Plassholder for tekst 20">
            <a:extLst>
              <a:ext uri="{FF2B5EF4-FFF2-40B4-BE49-F238E27FC236}">
                <a16:creationId xmlns:a16="http://schemas.microsoft.com/office/drawing/2014/main" id="{D2ECCBD4-778D-4F64-A78C-6A9C9E8341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34452" y="1575000"/>
            <a:ext cx="1867622" cy="1867015"/>
          </a:xfrm>
          <a:prstGeom prst="ellipse">
            <a:avLst/>
          </a:prstGeom>
          <a:solidFill>
            <a:srgbClr val="554CFD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799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#</a:t>
            </a:r>
          </a:p>
        </p:txBody>
      </p:sp>
      <p:sp>
        <p:nvSpPr>
          <p:cNvPr id="32" name="Plassholder for tekst 31">
            <a:extLst>
              <a:ext uri="{FF2B5EF4-FFF2-40B4-BE49-F238E27FC236}">
                <a16:creationId xmlns:a16="http://schemas.microsoft.com/office/drawing/2014/main" id="{A31E3218-16DE-42E2-8BB9-63921C9698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170" y="3838576"/>
            <a:ext cx="1117731" cy="276999"/>
          </a:xfrm>
        </p:spPr>
        <p:txBody>
          <a:bodyPr wrap="square">
            <a:spAutoFit/>
          </a:bodyPr>
          <a:lstStyle>
            <a:lvl1pPr marL="0" indent="0" algn="ctr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Tittel</a:t>
            </a:r>
            <a:endParaRPr lang="en-GB"/>
          </a:p>
        </p:txBody>
      </p:sp>
      <p:sp>
        <p:nvSpPr>
          <p:cNvPr id="33" name="Plassholder for tekst 31">
            <a:extLst>
              <a:ext uri="{FF2B5EF4-FFF2-40B4-BE49-F238E27FC236}">
                <a16:creationId xmlns:a16="http://schemas.microsoft.com/office/drawing/2014/main" id="{FD7AA2AE-A2C4-44CB-9250-263CF6397A8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3170" y="4253249"/>
            <a:ext cx="1117731" cy="1384995"/>
          </a:xfrm>
        </p:spPr>
        <p:txBody>
          <a:bodyPr wrap="square">
            <a:noAutofit/>
          </a:bodyPr>
          <a:lstStyle>
            <a:lvl1pPr marL="0" indent="0" algn="ctr">
              <a:buNone/>
              <a:defRPr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Tekst</a:t>
            </a:r>
          </a:p>
        </p:txBody>
      </p:sp>
      <p:sp>
        <p:nvSpPr>
          <p:cNvPr id="36" name="Plassholder for tekst 31">
            <a:extLst>
              <a:ext uri="{FF2B5EF4-FFF2-40B4-BE49-F238E27FC236}">
                <a16:creationId xmlns:a16="http://schemas.microsoft.com/office/drawing/2014/main" id="{76BC04BD-7578-4608-84B5-C5D9179F36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58580" y="3838576"/>
            <a:ext cx="1117731" cy="276999"/>
          </a:xfrm>
        </p:spPr>
        <p:txBody>
          <a:bodyPr wrap="square">
            <a:spAutoFit/>
          </a:bodyPr>
          <a:lstStyle>
            <a:lvl1pPr marL="0" indent="0" algn="ctr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Tittel</a:t>
            </a:r>
            <a:endParaRPr lang="en-GB"/>
          </a:p>
        </p:txBody>
      </p:sp>
      <p:sp>
        <p:nvSpPr>
          <p:cNvPr id="37" name="Plassholder for tekst 31">
            <a:extLst>
              <a:ext uri="{FF2B5EF4-FFF2-40B4-BE49-F238E27FC236}">
                <a16:creationId xmlns:a16="http://schemas.microsoft.com/office/drawing/2014/main" id="{D2FA771A-C603-4FA7-8A03-00FA7F04892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458580" y="4253249"/>
            <a:ext cx="1117731" cy="1384995"/>
          </a:xfrm>
        </p:spPr>
        <p:txBody>
          <a:bodyPr wrap="square">
            <a:noAutofit/>
          </a:bodyPr>
          <a:lstStyle>
            <a:lvl1pPr marL="0" indent="0" algn="ctr">
              <a:buNone/>
              <a:defRPr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Tekst</a:t>
            </a:r>
          </a:p>
        </p:txBody>
      </p:sp>
      <p:sp>
        <p:nvSpPr>
          <p:cNvPr id="38" name="Plassholder for tekst 31">
            <a:extLst>
              <a:ext uri="{FF2B5EF4-FFF2-40B4-BE49-F238E27FC236}">
                <a16:creationId xmlns:a16="http://schemas.microsoft.com/office/drawing/2014/main" id="{321AF35D-517D-445E-AED5-D1AEE37C101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33988" y="3838576"/>
            <a:ext cx="1117731" cy="276999"/>
          </a:xfrm>
        </p:spPr>
        <p:txBody>
          <a:bodyPr wrap="square">
            <a:spAutoFit/>
          </a:bodyPr>
          <a:lstStyle>
            <a:lvl1pPr marL="0" indent="0" algn="ctr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Tittel</a:t>
            </a:r>
            <a:endParaRPr lang="en-GB"/>
          </a:p>
        </p:txBody>
      </p:sp>
      <p:sp>
        <p:nvSpPr>
          <p:cNvPr id="39" name="Plassholder for tekst 31">
            <a:extLst>
              <a:ext uri="{FF2B5EF4-FFF2-40B4-BE49-F238E27FC236}">
                <a16:creationId xmlns:a16="http://schemas.microsoft.com/office/drawing/2014/main" id="{37A76E8F-7181-43D1-9694-465C84772C3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33988" y="4253249"/>
            <a:ext cx="1117731" cy="1384995"/>
          </a:xfrm>
        </p:spPr>
        <p:txBody>
          <a:bodyPr wrap="square">
            <a:noAutofit/>
          </a:bodyPr>
          <a:lstStyle>
            <a:lvl1pPr marL="0" indent="0" algn="ctr">
              <a:buNone/>
              <a:defRPr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Tekst</a:t>
            </a:r>
          </a:p>
        </p:txBody>
      </p:sp>
      <p:sp>
        <p:nvSpPr>
          <p:cNvPr id="40" name="Plassholder for tekst 31">
            <a:extLst>
              <a:ext uri="{FF2B5EF4-FFF2-40B4-BE49-F238E27FC236}">
                <a16:creationId xmlns:a16="http://schemas.microsoft.com/office/drawing/2014/main" id="{8D9C43D1-17D2-4B50-AA94-2FE42352B3D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609398" y="3838576"/>
            <a:ext cx="1117731" cy="276999"/>
          </a:xfrm>
        </p:spPr>
        <p:txBody>
          <a:bodyPr wrap="square">
            <a:spAutoFit/>
          </a:bodyPr>
          <a:lstStyle>
            <a:lvl1pPr marL="0" indent="0" algn="ctr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Tittel</a:t>
            </a:r>
            <a:endParaRPr lang="en-GB"/>
          </a:p>
        </p:txBody>
      </p:sp>
      <p:sp>
        <p:nvSpPr>
          <p:cNvPr id="41" name="Plassholder for tekst 31">
            <a:extLst>
              <a:ext uri="{FF2B5EF4-FFF2-40B4-BE49-F238E27FC236}">
                <a16:creationId xmlns:a16="http://schemas.microsoft.com/office/drawing/2014/main" id="{8E9D4B9F-DAE8-41E2-BF81-2EA753E71B0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609398" y="4253249"/>
            <a:ext cx="1117731" cy="1384995"/>
          </a:xfrm>
        </p:spPr>
        <p:txBody>
          <a:bodyPr wrap="square">
            <a:noAutofit/>
          </a:bodyPr>
          <a:lstStyle>
            <a:lvl1pPr marL="0" indent="0" algn="ctr">
              <a:buNone/>
              <a:defRPr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Tekst</a:t>
            </a:r>
          </a:p>
        </p:txBody>
      </p:sp>
      <p:sp>
        <p:nvSpPr>
          <p:cNvPr id="42" name="Plassholder for tekst 31">
            <a:extLst>
              <a:ext uri="{FF2B5EF4-FFF2-40B4-BE49-F238E27FC236}">
                <a16:creationId xmlns:a16="http://schemas.microsoft.com/office/drawing/2014/main" id="{E18131B8-5FD7-4DDE-87D4-6140F07C0BF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84808" y="3838576"/>
            <a:ext cx="1117731" cy="276999"/>
          </a:xfrm>
        </p:spPr>
        <p:txBody>
          <a:bodyPr wrap="square">
            <a:spAutoFit/>
          </a:bodyPr>
          <a:lstStyle>
            <a:lvl1pPr marL="0" indent="0" algn="ctr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Tittel</a:t>
            </a:r>
            <a:endParaRPr lang="en-GB"/>
          </a:p>
        </p:txBody>
      </p:sp>
      <p:sp>
        <p:nvSpPr>
          <p:cNvPr id="43" name="Plassholder for tekst 31">
            <a:extLst>
              <a:ext uri="{FF2B5EF4-FFF2-40B4-BE49-F238E27FC236}">
                <a16:creationId xmlns:a16="http://schemas.microsoft.com/office/drawing/2014/main" id="{BACB2E64-7F86-45DC-A95F-9D625E30BEA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184808" y="4253249"/>
            <a:ext cx="1117731" cy="1384995"/>
          </a:xfrm>
        </p:spPr>
        <p:txBody>
          <a:bodyPr wrap="square">
            <a:noAutofit/>
          </a:bodyPr>
          <a:lstStyle>
            <a:lvl1pPr marL="0" indent="0" algn="ctr">
              <a:buNone/>
              <a:defRPr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Tekst</a:t>
            </a:r>
          </a:p>
        </p:txBody>
      </p:sp>
    </p:spTree>
    <p:extLst>
      <p:ext uri="{BB962C8B-B14F-4D97-AF65-F5344CB8AC3E}">
        <p14:creationId xmlns:p14="http://schemas.microsoft.com/office/powerpoint/2010/main" val="20976828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ammenligning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k 6">
            <a:extLst>
              <a:ext uri="{FF2B5EF4-FFF2-40B4-BE49-F238E27FC236}">
                <a16:creationId xmlns:a16="http://schemas.microsoft.com/office/drawing/2014/main" id="{57AF7F2C-3ABD-4B0E-B01E-F6EC1BD748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52198" y="261706"/>
            <a:ext cx="11687604" cy="6349892"/>
          </a:xfrm>
          <a:prstGeom prst="rect">
            <a:avLst/>
          </a:prstGeom>
        </p:spPr>
      </p:pic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EBFF2865-48EB-41EE-BA6F-F27FF7886D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29ECF1-F0D3-4CD8-9C78-0C81B2D5F5E5}" type="datetimeFigureOut">
              <a:rPr lang="nb-NO" smtClean="0"/>
              <a:t>06.06.2024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675802EF-3313-4DAD-9E50-7758CF0D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1616A2F1-3466-4B56-8B68-9F2EB48360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09EF66-46AA-4080-844D-5B92F1A6B3C3}" type="slidenum">
              <a:rPr lang="nb-NO" smtClean="0"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6819067D-574C-4E99-BFFF-1F39199E0D8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682248" y="6096768"/>
            <a:ext cx="509753" cy="509588"/>
          </a:xfrm>
          <a:prstGeom prst="rect">
            <a:avLst/>
          </a:prstGeom>
        </p:spPr>
      </p:pic>
      <p:cxnSp>
        <p:nvCxnSpPr>
          <p:cNvPr id="9" name="Rett linje 8">
            <a:extLst>
              <a:ext uri="{FF2B5EF4-FFF2-40B4-BE49-F238E27FC236}">
                <a16:creationId xmlns:a16="http://schemas.microsoft.com/office/drawing/2014/main" id="{BCFA2601-0A65-444B-ADC2-03BAF2DB179B}"/>
              </a:ext>
            </a:extLst>
          </p:cNvPr>
          <p:cNvCxnSpPr/>
          <p:nvPr/>
        </p:nvCxnSpPr>
        <p:spPr>
          <a:xfrm>
            <a:off x="11326075" y="6230128"/>
            <a:ext cx="0" cy="241200"/>
          </a:xfrm>
          <a:prstGeom prst="line">
            <a:avLst/>
          </a:prstGeom>
          <a:ln w="25400">
            <a:solidFill>
              <a:schemeClr val="l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lassholder for tekst 20">
            <a:extLst>
              <a:ext uri="{FF2B5EF4-FFF2-40B4-BE49-F238E27FC236}">
                <a16:creationId xmlns:a16="http://schemas.microsoft.com/office/drawing/2014/main" id="{5E215ED9-1CEB-48EA-B736-43316F5D96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8226" y="1392119"/>
            <a:ext cx="4354431" cy="4352400"/>
          </a:xfrm>
          <a:prstGeom prst="ellipse">
            <a:avLst/>
          </a:prstGeom>
          <a:solidFill>
            <a:schemeClr val="accent2"/>
          </a:solidFill>
        </p:spPr>
        <p:txBody>
          <a:bodyPr lIns="90000" tIns="90000" rIns="90000" bIns="90000" anchor="ctr">
            <a:normAutofit/>
          </a:bodyPr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#</a:t>
            </a:r>
          </a:p>
        </p:txBody>
      </p:sp>
      <p:sp>
        <p:nvSpPr>
          <p:cNvPr id="29" name="Plassholder for tekst 20">
            <a:extLst>
              <a:ext uri="{FF2B5EF4-FFF2-40B4-BE49-F238E27FC236}">
                <a16:creationId xmlns:a16="http://schemas.microsoft.com/office/drawing/2014/main" id="{84778EA6-ECA2-4204-BA90-7D966AACB8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42706" y="1392119"/>
            <a:ext cx="4354431" cy="4352400"/>
          </a:xfrm>
          <a:prstGeom prst="ellipse">
            <a:avLst/>
          </a:prstGeom>
          <a:solidFill>
            <a:srgbClr val="554CFD"/>
          </a:solidFill>
        </p:spPr>
        <p:txBody>
          <a:bodyPr lIns="90000" tIns="90000" rIns="90000" bIns="90000" anchor="ctr">
            <a:normAutofit/>
          </a:bodyPr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#</a:t>
            </a:r>
          </a:p>
        </p:txBody>
      </p:sp>
      <p:sp>
        <p:nvSpPr>
          <p:cNvPr id="32" name="Plassholder for tekst 31">
            <a:extLst>
              <a:ext uri="{FF2B5EF4-FFF2-40B4-BE49-F238E27FC236}">
                <a16:creationId xmlns:a16="http://schemas.microsoft.com/office/drawing/2014/main" id="{A31E3218-16DE-42E2-8BB9-63921C9698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171" y="850004"/>
            <a:ext cx="3601172" cy="276999"/>
          </a:xfrm>
        </p:spPr>
        <p:txBody>
          <a:bodyPr wrap="square">
            <a:spAutoFit/>
          </a:bodyPr>
          <a:lstStyle>
            <a:lvl1pPr marL="0" indent="0" algn="ctr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Tittel</a:t>
            </a:r>
            <a:endParaRPr lang="en-GB"/>
          </a:p>
        </p:txBody>
      </p:sp>
      <p:sp>
        <p:nvSpPr>
          <p:cNvPr id="36" name="Plassholder for tekst 31">
            <a:extLst>
              <a:ext uri="{FF2B5EF4-FFF2-40B4-BE49-F238E27FC236}">
                <a16:creationId xmlns:a16="http://schemas.microsoft.com/office/drawing/2014/main" id="{76BC04BD-7578-4608-84B5-C5D9179F36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19334" y="836482"/>
            <a:ext cx="3601172" cy="276999"/>
          </a:xfrm>
        </p:spPr>
        <p:txBody>
          <a:bodyPr wrap="square">
            <a:spAutoFit/>
          </a:bodyPr>
          <a:lstStyle>
            <a:lvl1pPr marL="0" indent="0" algn="ctr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Titt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52921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225" y="479338"/>
            <a:ext cx="9428774" cy="7755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3129ECF1-F0D3-4CD8-9C78-0C81B2D5F5E5}" type="datetimeFigureOut">
              <a:rPr lang="nb-NO" smtClean="0"/>
              <a:t>06.06.2024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4409EF66-46AA-4080-844D-5B92F1A6B3C3}" type="slidenum">
              <a:rPr lang="nb-NO" smtClean="0"/>
              <a:t>‹#›</a:t>
            </a:fld>
            <a:endParaRPr lang="nb-NO"/>
          </a:p>
        </p:txBody>
      </p:sp>
      <p:sp>
        <p:nvSpPr>
          <p:cNvPr id="9" name="Frihåndsform: figur 8">
            <a:extLst>
              <a:ext uri="{FF2B5EF4-FFF2-40B4-BE49-F238E27FC236}">
                <a16:creationId xmlns:a16="http://schemas.microsoft.com/office/drawing/2014/main" id="{A5A3076C-020C-46B3-9627-40067259DBE0}"/>
              </a:ext>
            </a:extLst>
          </p:cNvPr>
          <p:cNvSpPr/>
          <p:nvPr/>
        </p:nvSpPr>
        <p:spPr>
          <a:xfrm>
            <a:off x="10448824" y="0"/>
            <a:ext cx="1746812" cy="1746244"/>
          </a:xfrm>
          <a:custGeom>
            <a:avLst/>
            <a:gdLst>
              <a:gd name="connsiteX0" fmla="*/ 367 w 3492487"/>
              <a:gd name="connsiteY0" fmla="*/ 0 h 3492488"/>
              <a:gd name="connsiteX1" fmla="*/ 3492855 w 3492487"/>
              <a:gd name="connsiteY1" fmla="*/ 3492488 h 3492488"/>
              <a:gd name="connsiteX2" fmla="*/ 3492855 w 3492487"/>
              <a:gd name="connsiteY2" fmla="*/ 0 h 3492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2487" h="3492488">
                <a:moveTo>
                  <a:pt x="367" y="0"/>
                </a:moveTo>
                <a:cubicBezTo>
                  <a:pt x="367" y="1928870"/>
                  <a:pt x="1563986" y="3492488"/>
                  <a:pt x="3492855" y="3492488"/>
                </a:cubicBezTo>
                <a:lnTo>
                  <a:pt x="3492855" y="0"/>
                </a:lnTo>
                <a:close/>
              </a:path>
            </a:pathLst>
          </a:custGeom>
          <a:solidFill>
            <a:schemeClr val="lt2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899"/>
          </a:p>
        </p:txBody>
      </p:sp>
      <p:sp>
        <p:nvSpPr>
          <p:cNvPr id="13" name="Frihåndsform: figur 12">
            <a:extLst>
              <a:ext uri="{FF2B5EF4-FFF2-40B4-BE49-F238E27FC236}">
                <a16:creationId xmlns:a16="http://schemas.microsoft.com/office/drawing/2014/main" id="{ABC5F55F-5983-487D-A0C6-07FE474F2A87}"/>
              </a:ext>
            </a:extLst>
          </p:cNvPr>
          <p:cNvSpPr/>
          <p:nvPr/>
        </p:nvSpPr>
        <p:spPr>
          <a:xfrm>
            <a:off x="2" y="3219440"/>
            <a:ext cx="7022164" cy="3638561"/>
          </a:xfrm>
          <a:custGeom>
            <a:avLst/>
            <a:gdLst>
              <a:gd name="connsiteX0" fmla="*/ 4819416 w 14039757"/>
              <a:gd name="connsiteY0" fmla="*/ 0 h 7277122"/>
              <a:gd name="connsiteX1" fmla="*/ 14001460 w 14039757"/>
              <a:gd name="connsiteY1" fmla="*/ 7111191 h 7277122"/>
              <a:gd name="connsiteX2" fmla="*/ 14039757 w 14039757"/>
              <a:gd name="connsiteY2" fmla="*/ 7277122 h 7277122"/>
              <a:gd name="connsiteX3" fmla="*/ 0 w 14039757"/>
              <a:gd name="connsiteY3" fmla="*/ 7277122 h 7277122"/>
              <a:gd name="connsiteX4" fmla="*/ 0 w 14039757"/>
              <a:gd name="connsiteY4" fmla="*/ 1316999 h 7277122"/>
              <a:gd name="connsiteX5" fmla="*/ 300442 w 14039757"/>
              <a:gd name="connsiteY5" fmla="*/ 1144249 h 7277122"/>
              <a:gd name="connsiteX6" fmla="*/ 4819416 w 14039757"/>
              <a:gd name="connsiteY6" fmla="*/ 0 h 72771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039757" h="7277122">
                <a:moveTo>
                  <a:pt x="4819416" y="0"/>
                </a:moveTo>
                <a:cubicBezTo>
                  <a:pt x="9237239" y="0"/>
                  <a:pt x="12949299" y="3021775"/>
                  <a:pt x="14001460" y="7111191"/>
                </a:cubicBezTo>
                <a:lnTo>
                  <a:pt x="14039757" y="7277122"/>
                </a:lnTo>
                <a:lnTo>
                  <a:pt x="0" y="7277122"/>
                </a:lnTo>
                <a:lnTo>
                  <a:pt x="0" y="1316999"/>
                </a:lnTo>
                <a:lnTo>
                  <a:pt x="300442" y="1144249"/>
                </a:lnTo>
                <a:cubicBezTo>
                  <a:pt x="1643767" y="414510"/>
                  <a:pt x="3183185" y="0"/>
                  <a:pt x="4819416" y="0"/>
                </a:cubicBezTo>
                <a:close/>
              </a:path>
            </a:pathLst>
          </a:custGeom>
          <a:solidFill>
            <a:schemeClr val="lt2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899"/>
          </a:p>
        </p:txBody>
      </p:sp>
      <p:sp>
        <p:nvSpPr>
          <p:cNvPr id="15" name="Plassholder for bilde 14">
            <a:extLst>
              <a:ext uri="{FF2B5EF4-FFF2-40B4-BE49-F238E27FC236}">
                <a16:creationId xmlns:a16="http://schemas.microsoft.com/office/drawing/2014/main" id="{D709A46D-5815-4D3F-BA66-48BBFF8105C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629913" y="1428929"/>
            <a:ext cx="4937248" cy="493564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26516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tfallende bilde med tittel">
    <p:bg>
      <p:bgPr>
        <a:solidFill>
          <a:schemeClr val="l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llipse 23">
            <a:extLst>
              <a:ext uri="{FF2B5EF4-FFF2-40B4-BE49-F238E27FC236}">
                <a16:creationId xmlns:a16="http://schemas.microsoft.com/office/drawing/2014/main" id="{25F115B0-8BEE-4D68-9944-0FC8FFC8078B}"/>
              </a:ext>
            </a:extLst>
          </p:cNvPr>
          <p:cNvSpPr/>
          <p:nvPr/>
        </p:nvSpPr>
        <p:spPr>
          <a:xfrm>
            <a:off x="3629913" y="1428929"/>
            <a:ext cx="4937248" cy="4935641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899"/>
          </a:p>
        </p:txBody>
      </p:sp>
      <p:sp>
        <p:nvSpPr>
          <p:cNvPr id="35" name="Plassholder for bilde 34">
            <a:extLst>
              <a:ext uri="{FF2B5EF4-FFF2-40B4-BE49-F238E27FC236}">
                <a16:creationId xmlns:a16="http://schemas.microsoft.com/office/drawing/2014/main" id="{58E12416-0D89-4638-90ED-D533504B3CB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622" y="0"/>
            <a:ext cx="12193473" cy="6858000"/>
          </a:xfrm>
          <a:custGeom>
            <a:avLst/>
            <a:gdLst>
              <a:gd name="connsiteX0" fmla="*/ 0 w 24379009"/>
              <a:gd name="connsiteY0" fmla="*/ 0 h 13716000"/>
              <a:gd name="connsiteX1" fmla="*/ 20883941 w 24379009"/>
              <a:gd name="connsiteY1" fmla="*/ 0 h 13716000"/>
              <a:gd name="connsiteX2" fmla="*/ 24376429 w 24379009"/>
              <a:gd name="connsiteY2" fmla="*/ 3492488 h 13716000"/>
              <a:gd name="connsiteX3" fmla="*/ 24379009 w 24379009"/>
              <a:gd name="connsiteY3" fmla="*/ 13716000 h 13716000"/>
              <a:gd name="connsiteX4" fmla="*/ 9290409 w 24379009"/>
              <a:gd name="connsiteY4" fmla="*/ 13716000 h 13716000"/>
              <a:gd name="connsiteX5" fmla="*/ 9308801 w 24379009"/>
              <a:gd name="connsiteY5" fmla="*/ 13665749 h 13716000"/>
              <a:gd name="connsiteX6" fmla="*/ 9437284 w 24379009"/>
              <a:gd name="connsiteY6" fmla="*/ 12815910 h 13716000"/>
              <a:gd name="connsiteX7" fmla="*/ 9308801 w 24379009"/>
              <a:gd name="connsiteY7" fmla="*/ 11966071 h 13716000"/>
              <a:gd name="connsiteX8" fmla="*/ 9224835 w 24379009"/>
              <a:gd name="connsiteY8" fmla="*/ 11736659 h 13716000"/>
              <a:gd name="connsiteX9" fmla="*/ 9240032 w 24379009"/>
              <a:gd name="connsiteY9" fmla="*/ 11748601 h 13716000"/>
              <a:gd name="connsiteX10" fmla="*/ 12193104 w 24379009"/>
              <a:gd name="connsiteY10" fmla="*/ 12729138 h 13716000"/>
              <a:gd name="connsiteX11" fmla="*/ 17128745 w 24379009"/>
              <a:gd name="connsiteY11" fmla="*/ 7793497 h 13716000"/>
              <a:gd name="connsiteX12" fmla="*/ 12193104 w 24379009"/>
              <a:gd name="connsiteY12" fmla="*/ 2857856 h 13716000"/>
              <a:gd name="connsiteX13" fmla="*/ 7257466 w 24379009"/>
              <a:gd name="connsiteY13" fmla="*/ 7793497 h 13716000"/>
              <a:gd name="connsiteX14" fmla="*/ 7853171 w 24379009"/>
              <a:gd name="connsiteY14" fmla="*/ 10146116 h 13716000"/>
              <a:gd name="connsiteX15" fmla="*/ 7952453 w 24379009"/>
              <a:gd name="connsiteY15" fmla="*/ 10309542 h 13716000"/>
              <a:gd name="connsiteX16" fmla="*/ 7941655 w 24379009"/>
              <a:gd name="connsiteY16" fmla="*/ 10302981 h 13716000"/>
              <a:gd name="connsiteX17" fmla="*/ 6579430 w 24379009"/>
              <a:gd name="connsiteY17" fmla="*/ 9958053 h 13716000"/>
              <a:gd name="connsiteX18" fmla="*/ 3721572 w 24379009"/>
              <a:gd name="connsiteY18" fmla="*/ 12815910 h 13716000"/>
              <a:gd name="connsiteX19" fmla="*/ 3850055 w 24379009"/>
              <a:gd name="connsiteY19" fmla="*/ 13665749 h 13716000"/>
              <a:gd name="connsiteX20" fmla="*/ 3868448 w 24379009"/>
              <a:gd name="connsiteY20" fmla="*/ 13716000 h 13716000"/>
              <a:gd name="connsiteX21" fmla="*/ 0 w 24379009"/>
              <a:gd name="connsiteY21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4379009" h="13716000">
                <a:moveTo>
                  <a:pt x="0" y="0"/>
                </a:moveTo>
                <a:lnTo>
                  <a:pt x="20883941" y="0"/>
                </a:lnTo>
                <a:cubicBezTo>
                  <a:pt x="20883941" y="1928870"/>
                  <a:pt x="22447561" y="3492488"/>
                  <a:pt x="24376429" y="3492488"/>
                </a:cubicBezTo>
                <a:cubicBezTo>
                  <a:pt x="24377289" y="6900325"/>
                  <a:pt x="24378149" y="10308163"/>
                  <a:pt x="24379009" y="13716000"/>
                </a:cubicBezTo>
                <a:lnTo>
                  <a:pt x="9290409" y="13716000"/>
                </a:lnTo>
                <a:lnTo>
                  <a:pt x="9308801" y="13665749"/>
                </a:lnTo>
                <a:cubicBezTo>
                  <a:pt x="9392302" y="13397285"/>
                  <a:pt x="9437284" y="13111851"/>
                  <a:pt x="9437284" y="12815910"/>
                </a:cubicBezTo>
                <a:cubicBezTo>
                  <a:pt x="9437284" y="12519969"/>
                  <a:pt x="9392302" y="12234535"/>
                  <a:pt x="9308801" y="11966071"/>
                </a:cubicBezTo>
                <a:lnTo>
                  <a:pt x="9224835" y="11736659"/>
                </a:lnTo>
                <a:lnTo>
                  <a:pt x="9240032" y="11748601"/>
                </a:lnTo>
                <a:cubicBezTo>
                  <a:pt x="10063507" y="12364441"/>
                  <a:pt x="11085716" y="12729138"/>
                  <a:pt x="12193104" y="12729138"/>
                </a:cubicBezTo>
                <a:cubicBezTo>
                  <a:pt x="14918983" y="12729138"/>
                  <a:pt x="17128745" y="10519376"/>
                  <a:pt x="17128745" y="7793497"/>
                </a:cubicBezTo>
                <a:cubicBezTo>
                  <a:pt x="17128745" y="5067618"/>
                  <a:pt x="14918983" y="2857856"/>
                  <a:pt x="12193104" y="2857856"/>
                </a:cubicBezTo>
                <a:cubicBezTo>
                  <a:pt x="9467225" y="2857856"/>
                  <a:pt x="7257466" y="5067618"/>
                  <a:pt x="7257466" y="7793497"/>
                </a:cubicBezTo>
                <a:cubicBezTo>
                  <a:pt x="7257466" y="8645334"/>
                  <a:pt x="7473261" y="9446769"/>
                  <a:pt x="7853171" y="10146116"/>
                </a:cubicBezTo>
                <a:lnTo>
                  <a:pt x="7952453" y="10309542"/>
                </a:lnTo>
                <a:lnTo>
                  <a:pt x="7941655" y="10302981"/>
                </a:lnTo>
                <a:cubicBezTo>
                  <a:pt x="7536716" y="10083005"/>
                  <a:pt x="7072664" y="9958053"/>
                  <a:pt x="6579430" y="9958053"/>
                </a:cubicBezTo>
                <a:cubicBezTo>
                  <a:pt x="5001079" y="9958053"/>
                  <a:pt x="3721572" y="11237559"/>
                  <a:pt x="3721572" y="12815910"/>
                </a:cubicBezTo>
                <a:cubicBezTo>
                  <a:pt x="3721572" y="13111851"/>
                  <a:pt x="3766555" y="13397285"/>
                  <a:pt x="3850055" y="13665749"/>
                </a:cubicBezTo>
                <a:lnTo>
                  <a:pt x="3868448" y="13716000"/>
                </a:lnTo>
                <a:lnTo>
                  <a:pt x="0" y="13716000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 lIns="0" tIns="0" rIns="0" bIns="0">
            <a:noAutofit/>
          </a:bodyPr>
          <a:lstStyle>
            <a:lvl1pPr>
              <a:defRPr/>
            </a:lvl1pPr>
          </a:lstStyle>
          <a:p>
            <a:r>
              <a:rPr lang="en-GB"/>
              <a:t>Sett inn </a:t>
            </a:r>
            <a:r>
              <a:rPr lang="en-GB" err="1"/>
              <a:t>bilde</a:t>
            </a:r>
            <a:r>
              <a:rPr lang="en-GB"/>
              <a:t> via “Sett inn” -&gt; “Bilde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29913" y="1428929"/>
            <a:ext cx="4937248" cy="4935641"/>
          </a:xfrm>
          <a:prstGeom prst="ellipse">
            <a:avLst/>
          </a:prstGeom>
          <a:noFill/>
        </p:spPr>
        <p:txBody>
          <a:bodyPr lIns="0" tIns="0" rIns="0" bIns="0" anchor="ctr"/>
          <a:lstStyle>
            <a:lvl1pPr algn="ctr">
              <a:defRPr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3129ECF1-F0D3-4CD8-9C78-0C81B2D5F5E5}" type="datetimeFigureOut">
              <a:rPr lang="nb-NO" smtClean="0"/>
              <a:t>06.06.2024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4409EF66-46AA-4080-844D-5B92F1A6B3C3}" type="slidenum">
              <a:rPr lang="nb-NO" smtClean="0"/>
              <a:t>‹#›</a:t>
            </a:fld>
            <a:endParaRPr lang="nb-NO"/>
          </a:p>
        </p:txBody>
      </p:sp>
      <p:sp>
        <p:nvSpPr>
          <p:cNvPr id="31" name="Plassholder for tekst 29">
            <a:extLst>
              <a:ext uri="{FF2B5EF4-FFF2-40B4-BE49-F238E27FC236}">
                <a16:creationId xmlns:a16="http://schemas.microsoft.com/office/drawing/2014/main" id="{54FE5D8A-CDA7-45DD-9B27-02A834C31FFD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11682248" y="6096768"/>
            <a:ext cx="509753" cy="50958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  <p:sp>
        <p:nvSpPr>
          <p:cNvPr id="36" name="Plassholder for tekst 29">
            <a:extLst>
              <a:ext uri="{FF2B5EF4-FFF2-40B4-BE49-F238E27FC236}">
                <a16:creationId xmlns:a16="http://schemas.microsoft.com/office/drawing/2014/main" id="{AFA1220D-1696-435F-9FE2-43D4D7829CE9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11320411" y="6230098"/>
            <a:ext cx="12606" cy="24123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09200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 og 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ihåndsform: figur 17">
            <a:extLst>
              <a:ext uri="{FF2B5EF4-FFF2-40B4-BE49-F238E27FC236}">
                <a16:creationId xmlns:a16="http://schemas.microsoft.com/office/drawing/2014/main" id="{BB19A6C7-78C4-450C-8F12-BC74CFD6DFBE}"/>
              </a:ext>
            </a:extLst>
          </p:cNvPr>
          <p:cNvSpPr/>
          <p:nvPr/>
        </p:nvSpPr>
        <p:spPr>
          <a:xfrm>
            <a:off x="5173985" y="2"/>
            <a:ext cx="7018017" cy="3638869"/>
          </a:xfrm>
          <a:custGeom>
            <a:avLst/>
            <a:gdLst>
              <a:gd name="connsiteX0" fmla="*/ 0 w 14031465"/>
              <a:gd name="connsiteY0" fmla="*/ 0 h 7277737"/>
              <a:gd name="connsiteX1" fmla="*/ 14031465 w 14031465"/>
              <a:gd name="connsiteY1" fmla="*/ 0 h 7277737"/>
              <a:gd name="connsiteX2" fmla="*/ 14031465 w 14031465"/>
              <a:gd name="connsiteY2" fmla="*/ 5966641 h 7277737"/>
              <a:gd name="connsiteX3" fmla="*/ 13790543 w 14031465"/>
              <a:gd name="connsiteY3" fmla="*/ 6105898 h 7277737"/>
              <a:gd name="connsiteX4" fmla="*/ 9220983 w 14031465"/>
              <a:gd name="connsiteY4" fmla="*/ 7277737 h 7277737"/>
              <a:gd name="connsiteX5" fmla="*/ 38329 w 14031465"/>
              <a:gd name="connsiteY5" fmla="*/ 166074 h 727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031465" h="7277737">
                <a:moveTo>
                  <a:pt x="0" y="0"/>
                </a:moveTo>
                <a:lnTo>
                  <a:pt x="14031465" y="0"/>
                </a:lnTo>
                <a:lnTo>
                  <a:pt x="14031465" y="5966641"/>
                </a:lnTo>
                <a:lnTo>
                  <a:pt x="13790543" y="6105898"/>
                </a:lnTo>
                <a:cubicBezTo>
                  <a:pt x="12435315" y="6852772"/>
                  <a:pt x="10877777" y="7277737"/>
                  <a:pt x="9220983" y="7277737"/>
                </a:cubicBezTo>
                <a:cubicBezTo>
                  <a:pt x="4802867" y="7277737"/>
                  <a:pt x="1090560" y="4255761"/>
                  <a:pt x="38329" y="166074"/>
                </a:cubicBezTo>
                <a:close/>
              </a:path>
            </a:pathLst>
          </a:custGeom>
          <a:solidFill>
            <a:schemeClr val="lt2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899"/>
          </a:p>
        </p:txBody>
      </p:sp>
      <p:sp>
        <p:nvSpPr>
          <p:cNvPr id="21" name="Plassholder for bilde 20">
            <a:extLst>
              <a:ext uri="{FF2B5EF4-FFF2-40B4-BE49-F238E27FC236}">
                <a16:creationId xmlns:a16="http://schemas.microsoft.com/office/drawing/2014/main" id="{C88DF1A1-BDE6-40B9-BC88-1B0F743215D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46248" y="0"/>
            <a:ext cx="5845752" cy="6858000"/>
          </a:xfrm>
          <a:custGeom>
            <a:avLst/>
            <a:gdLst>
              <a:gd name="connsiteX0" fmla="*/ 4997975 w 11687699"/>
              <a:gd name="connsiteY0" fmla="*/ 0 h 13716000"/>
              <a:gd name="connsiteX1" fmla="*/ 9401699 w 11687699"/>
              <a:gd name="connsiteY1" fmla="*/ 0 h 13716000"/>
              <a:gd name="connsiteX2" fmla="*/ 11687699 w 11687699"/>
              <a:gd name="connsiteY2" fmla="*/ 1226312 h 13716000"/>
              <a:gd name="connsiteX3" fmla="*/ 11687699 w 11687699"/>
              <a:gd name="connsiteY3" fmla="*/ 12489688 h 13716000"/>
              <a:gd name="connsiteX4" fmla="*/ 9401699 w 11687699"/>
              <a:gd name="connsiteY4" fmla="*/ 13716000 h 13716000"/>
              <a:gd name="connsiteX5" fmla="*/ 4997847 w 11687699"/>
              <a:gd name="connsiteY5" fmla="*/ 13716000 h 13716000"/>
              <a:gd name="connsiteX6" fmla="*/ 5110 w 11687699"/>
              <a:gd name="connsiteY6" fmla="*/ 7157360 h 13716000"/>
              <a:gd name="connsiteX7" fmla="*/ 0 w 11687699"/>
              <a:gd name="connsiteY7" fmla="*/ 6906997 h 13716000"/>
              <a:gd name="connsiteX8" fmla="*/ 0 w 11687699"/>
              <a:gd name="connsiteY8" fmla="*/ 6809003 h 13716000"/>
              <a:gd name="connsiteX9" fmla="*/ 5110 w 11687699"/>
              <a:gd name="connsiteY9" fmla="*/ 6558641 h 13716000"/>
              <a:gd name="connsiteX10" fmla="*/ 4997975 w 11687699"/>
              <a:gd name="connsiteY10" fmla="*/ 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687699" h="13716000">
                <a:moveTo>
                  <a:pt x="4997975" y="0"/>
                </a:moveTo>
                <a:lnTo>
                  <a:pt x="9401699" y="0"/>
                </a:lnTo>
                <a:cubicBezTo>
                  <a:pt x="10231771" y="266706"/>
                  <a:pt x="11006345" y="682247"/>
                  <a:pt x="11687699" y="1226312"/>
                </a:cubicBezTo>
                <a:lnTo>
                  <a:pt x="11687699" y="12489688"/>
                </a:lnTo>
                <a:cubicBezTo>
                  <a:pt x="11006345" y="13033756"/>
                  <a:pt x="10231771" y="13449300"/>
                  <a:pt x="9401699" y="13716000"/>
                </a:cubicBezTo>
                <a:lnTo>
                  <a:pt x="4997847" y="13716000"/>
                </a:lnTo>
                <a:cubicBezTo>
                  <a:pt x="2188676" y="12814673"/>
                  <a:pt x="130973" y="10235081"/>
                  <a:pt x="5110" y="7157360"/>
                </a:cubicBezTo>
                <a:lnTo>
                  <a:pt x="0" y="6906997"/>
                </a:lnTo>
                <a:lnTo>
                  <a:pt x="0" y="6809003"/>
                </a:lnTo>
                <a:lnTo>
                  <a:pt x="5110" y="6558641"/>
                </a:lnTo>
                <a:cubicBezTo>
                  <a:pt x="130973" y="3480920"/>
                  <a:pt x="2188680" y="901327"/>
                  <a:pt x="4997975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225" y="2377415"/>
            <a:ext cx="5335677" cy="1828193"/>
          </a:xfrm>
        </p:spPr>
        <p:txBody>
          <a:bodyPr wrap="square" lIns="0" tIns="0" rIns="0" bIns="0">
            <a:noAutofit/>
          </a:bodyPr>
          <a:lstStyle>
            <a:lvl1pPr>
              <a:defRPr sz="4399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3129ECF1-F0D3-4CD8-9C78-0C81B2D5F5E5}" type="datetimeFigureOut">
              <a:rPr lang="nb-NO" smtClean="0"/>
              <a:t>06.06.2024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4409EF66-46AA-4080-844D-5B92F1A6B3C3}" type="slidenum">
              <a:rPr lang="nb-NO" smtClean="0"/>
              <a:t>‹#›</a:t>
            </a:fld>
            <a:endParaRPr lang="nb-NO"/>
          </a:p>
        </p:txBody>
      </p:sp>
      <p:sp>
        <p:nvSpPr>
          <p:cNvPr id="11" name="Frihåndsform: figur 10">
            <a:extLst>
              <a:ext uri="{FF2B5EF4-FFF2-40B4-BE49-F238E27FC236}">
                <a16:creationId xmlns:a16="http://schemas.microsoft.com/office/drawing/2014/main" id="{9D0BA09F-1AB7-4820-AAF4-357B04379CF2}"/>
              </a:ext>
            </a:extLst>
          </p:cNvPr>
          <p:cNvSpPr/>
          <p:nvPr/>
        </p:nvSpPr>
        <p:spPr>
          <a:xfrm>
            <a:off x="1" y="5111640"/>
            <a:ext cx="1746929" cy="1746360"/>
          </a:xfrm>
          <a:custGeom>
            <a:avLst/>
            <a:gdLst>
              <a:gd name="connsiteX0" fmla="*/ 3492720 w 3492720"/>
              <a:gd name="connsiteY0" fmla="*/ 3493640 h 3492720"/>
              <a:gd name="connsiteX1" fmla="*/ 0 w 3492720"/>
              <a:gd name="connsiteY1" fmla="*/ 920 h 3492720"/>
              <a:gd name="connsiteX2" fmla="*/ 0 w 3492720"/>
              <a:gd name="connsiteY2" fmla="*/ 3493640 h 349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2720" h="3492720">
                <a:moveTo>
                  <a:pt x="3492720" y="3493640"/>
                </a:moveTo>
                <a:cubicBezTo>
                  <a:pt x="3492720" y="1564642"/>
                  <a:pt x="1928998" y="920"/>
                  <a:pt x="0" y="920"/>
                </a:cubicBezTo>
                <a:lnTo>
                  <a:pt x="0" y="3493640"/>
                </a:lnTo>
                <a:close/>
              </a:path>
            </a:pathLst>
          </a:custGeom>
          <a:solidFill>
            <a:schemeClr val="lt2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899"/>
          </a:p>
        </p:txBody>
      </p:sp>
      <p:sp>
        <p:nvSpPr>
          <p:cNvPr id="22" name="Plassholder for tekst 29">
            <a:extLst>
              <a:ext uri="{FF2B5EF4-FFF2-40B4-BE49-F238E27FC236}">
                <a16:creationId xmlns:a16="http://schemas.microsoft.com/office/drawing/2014/main" id="{467C46CA-B925-4F9D-9892-3BE03A88CE0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11682248" y="6096768"/>
            <a:ext cx="509753" cy="50958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  <p:sp>
        <p:nvSpPr>
          <p:cNvPr id="26" name="Plassholder for tekst 29">
            <a:extLst>
              <a:ext uri="{FF2B5EF4-FFF2-40B4-BE49-F238E27FC236}">
                <a16:creationId xmlns:a16="http://schemas.microsoft.com/office/drawing/2014/main" id="{9C07BABA-FE02-49A3-8612-5A4D1589C4C0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11320411" y="6230098"/>
            <a:ext cx="12606" cy="24123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89825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 og bilde høyr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ihåndsform: figur 17">
            <a:extLst>
              <a:ext uri="{FF2B5EF4-FFF2-40B4-BE49-F238E27FC236}">
                <a16:creationId xmlns:a16="http://schemas.microsoft.com/office/drawing/2014/main" id="{BB19A6C7-78C4-450C-8F12-BC74CFD6DFBE}"/>
              </a:ext>
            </a:extLst>
          </p:cNvPr>
          <p:cNvSpPr/>
          <p:nvPr/>
        </p:nvSpPr>
        <p:spPr>
          <a:xfrm>
            <a:off x="5173985" y="2"/>
            <a:ext cx="7018017" cy="3638869"/>
          </a:xfrm>
          <a:custGeom>
            <a:avLst/>
            <a:gdLst>
              <a:gd name="connsiteX0" fmla="*/ 0 w 14031465"/>
              <a:gd name="connsiteY0" fmla="*/ 0 h 7277737"/>
              <a:gd name="connsiteX1" fmla="*/ 14031465 w 14031465"/>
              <a:gd name="connsiteY1" fmla="*/ 0 h 7277737"/>
              <a:gd name="connsiteX2" fmla="*/ 14031465 w 14031465"/>
              <a:gd name="connsiteY2" fmla="*/ 5966641 h 7277737"/>
              <a:gd name="connsiteX3" fmla="*/ 13790543 w 14031465"/>
              <a:gd name="connsiteY3" fmla="*/ 6105898 h 7277737"/>
              <a:gd name="connsiteX4" fmla="*/ 9220983 w 14031465"/>
              <a:gd name="connsiteY4" fmla="*/ 7277737 h 7277737"/>
              <a:gd name="connsiteX5" fmla="*/ 38329 w 14031465"/>
              <a:gd name="connsiteY5" fmla="*/ 166074 h 727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031465" h="7277737">
                <a:moveTo>
                  <a:pt x="0" y="0"/>
                </a:moveTo>
                <a:lnTo>
                  <a:pt x="14031465" y="0"/>
                </a:lnTo>
                <a:lnTo>
                  <a:pt x="14031465" y="5966641"/>
                </a:lnTo>
                <a:lnTo>
                  <a:pt x="13790543" y="6105898"/>
                </a:lnTo>
                <a:cubicBezTo>
                  <a:pt x="12435315" y="6852772"/>
                  <a:pt x="10877777" y="7277737"/>
                  <a:pt x="9220983" y="7277737"/>
                </a:cubicBezTo>
                <a:cubicBezTo>
                  <a:pt x="4802867" y="7277737"/>
                  <a:pt x="1090560" y="4255761"/>
                  <a:pt x="38329" y="166074"/>
                </a:cubicBezTo>
                <a:close/>
              </a:path>
            </a:pathLst>
          </a:custGeom>
          <a:solidFill>
            <a:schemeClr val="lt2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899"/>
          </a:p>
        </p:txBody>
      </p:sp>
      <p:sp>
        <p:nvSpPr>
          <p:cNvPr id="14" name="Plassholder for bilde 10">
            <a:extLst>
              <a:ext uri="{FF2B5EF4-FFF2-40B4-BE49-F238E27FC236}">
                <a16:creationId xmlns:a16="http://schemas.microsoft.com/office/drawing/2014/main" id="{3F7E708B-D066-4A8C-A430-D0A7FD91CC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4040" y="253571"/>
            <a:ext cx="5527799" cy="6351724"/>
          </a:xfrm>
          <a:prstGeom prst="roundRect">
            <a:avLst>
              <a:gd name="adj" fmla="val 2388"/>
            </a:avLst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225" y="2377415"/>
            <a:ext cx="5335677" cy="1828193"/>
          </a:xfrm>
        </p:spPr>
        <p:txBody>
          <a:bodyPr wrap="square" lIns="0" tIns="0" rIns="0" bIns="0">
            <a:noAutofit/>
          </a:bodyPr>
          <a:lstStyle>
            <a:lvl1pPr>
              <a:defRPr sz="4399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3129ECF1-F0D3-4CD8-9C78-0C81B2D5F5E5}" type="datetimeFigureOut">
              <a:rPr lang="nb-NO" smtClean="0"/>
              <a:t>06.06.2024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4409EF66-46AA-4080-844D-5B92F1A6B3C3}" type="slidenum">
              <a:rPr lang="nb-NO" smtClean="0"/>
              <a:t>‹#›</a:t>
            </a:fld>
            <a:endParaRPr lang="nb-NO"/>
          </a:p>
        </p:txBody>
      </p:sp>
      <p:sp>
        <p:nvSpPr>
          <p:cNvPr id="11" name="Frihåndsform: figur 10">
            <a:extLst>
              <a:ext uri="{FF2B5EF4-FFF2-40B4-BE49-F238E27FC236}">
                <a16:creationId xmlns:a16="http://schemas.microsoft.com/office/drawing/2014/main" id="{9D0BA09F-1AB7-4820-AAF4-357B04379CF2}"/>
              </a:ext>
            </a:extLst>
          </p:cNvPr>
          <p:cNvSpPr/>
          <p:nvPr/>
        </p:nvSpPr>
        <p:spPr>
          <a:xfrm>
            <a:off x="1" y="5111640"/>
            <a:ext cx="1746929" cy="1746360"/>
          </a:xfrm>
          <a:custGeom>
            <a:avLst/>
            <a:gdLst>
              <a:gd name="connsiteX0" fmla="*/ 3492720 w 3492720"/>
              <a:gd name="connsiteY0" fmla="*/ 3493640 h 3492720"/>
              <a:gd name="connsiteX1" fmla="*/ 0 w 3492720"/>
              <a:gd name="connsiteY1" fmla="*/ 920 h 3492720"/>
              <a:gd name="connsiteX2" fmla="*/ 0 w 3492720"/>
              <a:gd name="connsiteY2" fmla="*/ 3493640 h 349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2720" h="3492720">
                <a:moveTo>
                  <a:pt x="3492720" y="3493640"/>
                </a:moveTo>
                <a:cubicBezTo>
                  <a:pt x="3492720" y="1564642"/>
                  <a:pt x="1928998" y="920"/>
                  <a:pt x="0" y="920"/>
                </a:cubicBezTo>
                <a:lnTo>
                  <a:pt x="0" y="3493640"/>
                </a:lnTo>
                <a:close/>
              </a:path>
            </a:pathLst>
          </a:custGeom>
          <a:solidFill>
            <a:schemeClr val="lt2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899"/>
          </a:p>
        </p:txBody>
      </p:sp>
      <p:sp>
        <p:nvSpPr>
          <p:cNvPr id="22" name="Plassholder for tekst 29">
            <a:extLst>
              <a:ext uri="{FF2B5EF4-FFF2-40B4-BE49-F238E27FC236}">
                <a16:creationId xmlns:a16="http://schemas.microsoft.com/office/drawing/2014/main" id="{467C46CA-B925-4F9D-9892-3BE03A88CE0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11682248" y="6096768"/>
            <a:ext cx="509753" cy="50958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  <p:sp>
        <p:nvSpPr>
          <p:cNvPr id="26" name="Plassholder for tekst 29">
            <a:extLst>
              <a:ext uri="{FF2B5EF4-FFF2-40B4-BE49-F238E27FC236}">
                <a16:creationId xmlns:a16="http://schemas.microsoft.com/office/drawing/2014/main" id="{9C07BABA-FE02-49A3-8612-5A4D1589C4C0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11320411" y="6230098"/>
            <a:ext cx="12606" cy="24123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73564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elk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837C36F4-3439-485F-9F85-8CA1656B1F6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/>
          <a:lstStyle/>
          <a:p>
            <a:fld id="{3129ECF1-F0D3-4CD8-9C78-0C81B2D5F5E5}" type="datetimeFigureOut">
              <a:rPr lang="nb-NO" smtClean="0"/>
              <a:t>06.06.2024</a:t>
            </a:fld>
            <a:endParaRPr lang="nb-NO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1AC607D-34F9-4335-B0D4-1F7783103F3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8225" y="2477136"/>
            <a:ext cx="4846568" cy="2097080"/>
          </a:xfrm>
        </p:spPr>
        <p:txBody>
          <a:bodyPr wrap="square" lIns="0" tIns="0" rIns="0" bIns="0" anchor="t">
            <a:noAutofit/>
          </a:bodyPr>
          <a:lstStyle>
            <a:lvl1pPr algn="l">
              <a:lnSpc>
                <a:spcPct val="95000"/>
              </a:lnSpc>
              <a:defRPr sz="4399" b="1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68CC84F6-902E-406B-85A0-45091D2063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8225" y="508060"/>
            <a:ext cx="2052668" cy="768706"/>
          </a:xfrm>
          <a:prstGeom prst="rect">
            <a:avLst/>
          </a:prstGeom>
        </p:spPr>
      </p:pic>
      <p:sp>
        <p:nvSpPr>
          <p:cNvPr id="10" name="Ellipse 9">
            <a:extLst>
              <a:ext uri="{FF2B5EF4-FFF2-40B4-BE49-F238E27FC236}">
                <a16:creationId xmlns:a16="http://schemas.microsoft.com/office/drawing/2014/main" id="{86B8EF1F-F258-4684-84D0-56CC41E8500D}"/>
              </a:ext>
            </a:extLst>
          </p:cNvPr>
          <p:cNvSpPr/>
          <p:nvPr/>
        </p:nvSpPr>
        <p:spPr>
          <a:xfrm>
            <a:off x="6352866" y="635084"/>
            <a:ext cx="5589019" cy="55872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899"/>
          </a:p>
        </p:txBody>
      </p:sp>
      <p:sp>
        <p:nvSpPr>
          <p:cNvPr id="11" name="Plassholder for bunntekst 3">
            <a:extLst>
              <a:ext uri="{FF2B5EF4-FFF2-40B4-BE49-F238E27FC236}">
                <a16:creationId xmlns:a16="http://schemas.microsoft.com/office/drawing/2014/main" id="{BA61E25B-057D-4011-8A6B-0A208C4F39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86780" y="-120060"/>
            <a:ext cx="4114800" cy="15389"/>
          </a:xfrm>
        </p:spPr>
        <p:txBody>
          <a:bodyPr/>
          <a:lstStyle>
            <a:lvl1pPr>
              <a:defRPr sz="100"/>
            </a:lvl1pPr>
          </a:lstStyle>
          <a:p>
            <a:endParaRPr lang="nb-NO"/>
          </a:p>
        </p:txBody>
      </p:sp>
      <p:sp>
        <p:nvSpPr>
          <p:cNvPr id="12" name="Plassholder for lysbildenummer 4">
            <a:extLst>
              <a:ext uri="{FF2B5EF4-FFF2-40B4-BE49-F238E27FC236}">
                <a16:creationId xmlns:a16="http://schemas.microsoft.com/office/drawing/2014/main" id="{3E8C21B8-D9B3-4944-8D30-09E82F4071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246419" y="-120060"/>
            <a:ext cx="226749" cy="15389"/>
          </a:xfrm>
        </p:spPr>
        <p:txBody>
          <a:bodyPr/>
          <a:lstStyle>
            <a:lvl1pPr>
              <a:defRPr sz="100"/>
            </a:lvl1pPr>
          </a:lstStyle>
          <a:p>
            <a:fld id="{4409EF66-46AA-4080-844D-5B92F1A6B3C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365390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ilde (Variant 2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225" y="479338"/>
            <a:ext cx="9428774" cy="775597"/>
          </a:xfrm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3129ECF1-F0D3-4CD8-9C78-0C81B2D5F5E5}" type="datetimeFigureOut">
              <a:rPr lang="nb-NO" smtClean="0"/>
              <a:t>06.06.2024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4409EF66-46AA-4080-844D-5B92F1A6B3C3}" type="slidenum">
              <a:rPr lang="nb-NO" smtClean="0"/>
              <a:t>‹#›</a:t>
            </a:fld>
            <a:endParaRPr lang="nb-NO"/>
          </a:p>
        </p:txBody>
      </p:sp>
      <p:sp>
        <p:nvSpPr>
          <p:cNvPr id="9" name="Frihåndsform: figur 8">
            <a:extLst>
              <a:ext uri="{FF2B5EF4-FFF2-40B4-BE49-F238E27FC236}">
                <a16:creationId xmlns:a16="http://schemas.microsoft.com/office/drawing/2014/main" id="{A5A3076C-020C-46B3-9627-40067259DBE0}"/>
              </a:ext>
            </a:extLst>
          </p:cNvPr>
          <p:cNvSpPr/>
          <p:nvPr/>
        </p:nvSpPr>
        <p:spPr>
          <a:xfrm>
            <a:off x="10448824" y="0"/>
            <a:ext cx="1746812" cy="1746244"/>
          </a:xfrm>
          <a:custGeom>
            <a:avLst/>
            <a:gdLst>
              <a:gd name="connsiteX0" fmla="*/ 367 w 3492487"/>
              <a:gd name="connsiteY0" fmla="*/ 0 h 3492488"/>
              <a:gd name="connsiteX1" fmla="*/ 3492855 w 3492487"/>
              <a:gd name="connsiteY1" fmla="*/ 3492488 h 3492488"/>
              <a:gd name="connsiteX2" fmla="*/ 3492855 w 3492487"/>
              <a:gd name="connsiteY2" fmla="*/ 0 h 3492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2487" h="3492488">
                <a:moveTo>
                  <a:pt x="367" y="0"/>
                </a:moveTo>
                <a:cubicBezTo>
                  <a:pt x="367" y="1928870"/>
                  <a:pt x="1563986" y="3492488"/>
                  <a:pt x="3492855" y="3492488"/>
                </a:cubicBezTo>
                <a:lnTo>
                  <a:pt x="3492855" y="0"/>
                </a:lnTo>
                <a:close/>
              </a:path>
            </a:pathLst>
          </a:custGeom>
          <a:solidFill>
            <a:schemeClr val="accent4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899"/>
          </a:p>
        </p:txBody>
      </p:sp>
      <p:sp>
        <p:nvSpPr>
          <p:cNvPr id="13" name="Frihåndsform: figur 12">
            <a:extLst>
              <a:ext uri="{FF2B5EF4-FFF2-40B4-BE49-F238E27FC236}">
                <a16:creationId xmlns:a16="http://schemas.microsoft.com/office/drawing/2014/main" id="{ABC5F55F-5983-487D-A0C6-07FE474F2A87}"/>
              </a:ext>
            </a:extLst>
          </p:cNvPr>
          <p:cNvSpPr/>
          <p:nvPr/>
        </p:nvSpPr>
        <p:spPr>
          <a:xfrm>
            <a:off x="2" y="3219440"/>
            <a:ext cx="7022164" cy="3638561"/>
          </a:xfrm>
          <a:custGeom>
            <a:avLst/>
            <a:gdLst>
              <a:gd name="connsiteX0" fmla="*/ 4819416 w 14039757"/>
              <a:gd name="connsiteY0" fmla="*/ 0 h 7277122"/>
              <a:gd name="connsiteX1" fmla="*/ 14001460 w 14039757"/>
              <a:gd name="connsiteY1" fmla="*/ 7111191 h 7277122"/>
              <a:gd name="connsiteX2" fmla="*/ 14039757 w 14039757"/>
              <a:gd name="connsiteY2" fmla="*/ 7277122 h 7277122"/>
              <a:gd name="connsiteX3" fmla="*/ 0 w 14039757"/>
              <a:gd name="connsiteY3" fmla="*/ 7277122 h 7277122"/>
              <a:gd name="connsiteX4" fmla="*/ 0 w 14039757"/>
              <a:gd name="connsiteY4" fmla="*/ 1316999 h 7277122"/>
              <a:gd name="connsiteX5" fmla="*/ 300442 w 14039757"/>
              <a:gd name="connsiteY5" fmla="*/ 1144249 h 7277122"/>
              <a:gd name="connsiteX6" fmla="*/ 4819416 w 14039757"/>
              <a:gd name="connsiteY6" fmla="*/ 0 h 72771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039757" h="7277122">
                <a:moveTo>
                  <a:pt x="4819416" y="0"/>
                </a:moveTo>
                <a:cubicBezTo>
                  <a:pt x="9237239" y="0"/>
                  <a:pt x="12949299" y="3021775"/>
                  <a:pt x="14001460" y="7111191"/>
                </a:cubicBezTo>
                <a:lnTo>
                  <a:pt x="14039757" y="7277122"/>
                </a:lnTo>
                <a:lnTo>
                  <a:pt x="0" y="7277122"/>
                </a:lnTo>
                <a:lnTo>
                  <a:pt x="0" y="1316999"/>
                </a:lnTo>
                <a:lnTo>
                  <a:pt x="300442" y="1144249"/>
                </a:lnTo>
                <a:cubicBezTo>
                  <a:pt x="1643767" y="414510"/>
                  <a:pt x="3183185" y="0"/>
                  <a:pt x="4819416" y="0"/>
                </a:cubicBezTo>
                <a:close/>
              </a:path>
            </a:pathLst>
          </a:custGeom>
          <a:solidFill>
            <a:schemeClr val="accent4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899"/>
          </a:p>
        </p:txBody>
      </p:sp>
      <p:sp>
        <p:nvSpPr>
          <p:cNvPr id="15" name="Plassholder for bilde 14">
            <a:extLst>
              <a:ext uri="{FF2B5EF4-FFF2-40B4-BE49-F238E27FC236}">
                <a16:creationId xmlns:a16="http://schemas.microsoft.com/office/drawing/2014/main" id="{D709A46D-5815-4D3F-BA66-48BBFF8105C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629913" y="1428929"/>
            <a:ext cx="4937248" cy="493564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46872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tfallende bilde med tittel  (Variant 2)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llipse 23">
            <a:extLst>
              <a:ext uri="{FF2B5EF4-FFF2-40B4-BE49-F238E27FC236}">
                <a16:creationId xmlns:a16="http://schemas.microsoft.com/office/drawing/2014/main" id="{25F115B0-8BEE-4D68-9944-0FC8FFC8078B}"/>
              </a:ext>
            </a:extLst>
          </p:cNvPr>
          <p:cNvSpPr/>
          <p:nvPr/>
        </p:nvSpPr>
        <p:spPr>
          <a:xfrm>
            <a:off x="3629913" y="1428929"/>
            <a:ext cx="4937248" cy="493564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899">
              <a:solidFill>
                <a:schemeClr val="bg1"/>
              </a:solidFill>
            </a:endParaRPr>
          </a:p>
        </p:txBody>
      </p:sp>
      <p:sp>
        <p:nvSpPr>
          <p:cNvPr id="35" name="Plassholder for bilde 34">
            <a:extLst>
              <a:ext uri="{FF2B5EF4-FFF2-40B4-BE49-F238E27FC236}">
                <a16:creationId xmlns:a16="http://schemas.microsoft.com/office/drawing/2014/main" id="{58E12416-0D89-4638-90ED-D533504B3CB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622" y="0"/>
            <a:ext cx="12193473" cy="6858000"/>
          </a:xfrm>
          <a:custGeom>
            <a:avLst/>
            <a:gdLst>
              <a:gd name="connsiteX0" fmla="*/ 0 w 24379009"/>
              <a:gd name="connsiteY0" fmla="*/ 0 h 13716000"/>
              <a:gd name="connsiteX1" fmla="*/ 20883941 w 24379009"/>
              <a:gd name="connsiteY1" fmla="*/ 0 h 13716000"/>
              <a:gd name="connsiteX2" fmla="*/ 24376429 w 24379009"/>
              <a:gd name="connsiteY2" fmla="*/ 3492488 h 13716000"/>
              <a:gd name="connsiteX3" fmla="*/ 24379009 w 24379009"/>
              <a:gd name="connsiteY3" fmla="*/ 13716000 h 13716000"/>
              <a:gd name="connsiteX4" fmla="*/ 9290409 w 24379009"/>
              <a:gd name="connsiteY4" fmla="*/ 13716000 h 13716000"/>
              <a:gd name="connsiteX5" fmla="*/ 9308801 w 24379009"/>
              <a:gd name="connsiteY5" fmla="*/ 13665749 h 13716000"/>
              <a:gd name="connsiteX6" fmla="*/ 9437284 w 24379009"/>
              <a:gd name="connsiteY6" fmla="*/ 12815910 h 13716000"/>
              <a:gd name="connsiteX7" fmla="*/ 9308801 w 24379009"/>
              <a:gd name="connsiteY7" fmla="*/ 11966071 h 13716000"/>
              <a:gd name="connsiteX8" fmla="*/ 9224835 w 24379009"/>
              <a:gd name="connsiteY8" fmla="*/ 11736659 h 13716000"/>
              <a:gd name="connsiteX9" fmla="*/ 9240032 w 24379009"/>
              <a:gd name="connsiteY9" fmla="*/ 11748601 h 13716000"/>
              <a:gd name="connsiteX10" fmla="*/ 12193104 w 24379009"/>
              <a:gd name="connsiteY10" fmla="*/ 12729138 h 13716000"/>
              <a:gd name="connsiteX11" fmla="*/ 17128745 w 24379009"/>
              <a:gd name="connsiteY11" fmla="*/ 7793497 h 13716000"/>
              <a:gd name="connsiteX12" fmla="*/ 12193104 w 24379009"/>
              <a:gd name="connsiteY12" fmla="*/ 2857856 h 13716000"/>
              <a:gd name="connsiteX13" fmla="*/ 7257466 w 24379009"/>
              <a:gd name="connsiteY13" fmla="*/ 7793497 h 13716000"/>
              <a:gd name="connsiteX14" fmla="*/ 7853171 w 24379009"/>
              <a:gd name="connsiteY14" fmla="*/ 10146116 h 13716000"/>
              <a:gd name="connsiteX15" fmla="*/ 7952453 w 24379009"/>
              <a:gd name="connsiteY15" fmla="*/ 10309542 h 13716000"/>
              <a:gd name="connsiteX16" fmla="*/ 7941655 w 24379009"/>
              <a:gd name="connsiteY16" fmla="*/ 10302981 h 13716000"/>
              <a:gd name="connsiteX17" fmla="*/ 6579430 w 24379009"/>
              <a:gd name="connsiteY17" fmla="*/ 9958053 h 13716000"/>
              <a:gd name="connsiteX18" fmla="*/ 3721572 w 24379009"/>
              <a:gd name="connsiteY18" fmla="*/ 12815910 h 13716000"/>
              <a:gd name="connsiteX19" fmla="*/ 3850055 w 24379009"/>
              <a:gd name="connsiteY19" fmla="*/ 13665749 h 13716000"/>
              <a:gd name="connsiteX20" fmla="*/ 3868448 w 24379009"/>
              <a:gd name="connsiteY20" fmla="*/ 13716000 h 13716000"/>
              <a:gd name="connsiteX21" fmla="*/ 0 w 24379009"/>
              <a:gd name="connsiteY21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4379009" h="13716000">
                <a:moveTo>
                  <a:pt x="0" y="0"/>
                </a:moveTo>
                <a:lnTo>
                  <a:pt x="20883941" y="0"/>
                </a:lnTo>
                <a:cubicBezTo>
                  <a:pt x="20883941" y="1928870"/>
                  <a:pt x="22447561" y="3492488"/>
                  <a:pt x="24376429" y="3492488"/>
                </a:cubicBezTo>
                <a:cubicBezTo>
                  <a:pt x="24377289" y="6900325"/>
                  <a:pt x="24378149" y="10308163"/>
                  <a:pt x="24379009" y="13716000"/>
                </a:cubicBezTo>
                <a:lnTo>
                  <a:pt x="9290409" y="13716000"/>
                </a:lnTo>
                <a:lnTo>
                  <a:pt x="9308801" y="13665749"/>
                </a:lnTo>
                <a:cubicBezTo>
                  <a:pt x="9392302" y="13397285"/>
                  <a:pt x="9437284" y="13111851"/>
                  <a:pt x="9437284" y="12815910"/>
                </a:cubicBezTo>
                <a:cubicBezTo>
                  <a:pt x="9437284" y="12519969"/>
                  <a:pt x="9392302" y="12234535"/>
                  <a:pt x="9308801" y="11966071"/>
                </a:cubicBezTo>
                <a:lnTo>
                  <a:pt x="9224835" y="11736659"/>
                </a:lnTo>
                <a:lnTo>
                  <a:pt x="9240032" y="11748601"/>
                </a:lnTo>
                <a:cubicBezTo>
                  <a:pt x="10063507" y="12364441"/>
                  <a:pt x="11085716" y="12729138"/>
                  <a:pt x="12193104" y="12729138"/>
                </a:cubicBezTo>
                <a:cubicBezTo>
                  <a:pt x="14918983" y="12729138"/>
                  <a:pt x="17128745" y="10519376"/>
                  <a:pt x="17128745" y="7793497"/>
                </a:cubicBezTo>
                <a:cubicBezTo>
                  <a:pt x="17128745" y="5067618"/>
                  <a:pt x="14918983" y="2857856"/>
                  <a:pt x="12193104" y="2857856"/>
                </a:cubicBezTo>
                <a:cubicBezTo>
                  <a:pt x="9467225" y="2857856"/>
                  <a:pt x="7257466" y="5067618"/>
                  <a:pt x="7257466" y="7793497"/>
                </a:cubicBezTo>
                <a:cubicBezTo>
                  <a:pt x="7257466" y="8645334"/>
                  <a:pt x="7473261" y="9446769"/>
                  <a:pt x="7853171" y="10146116"/>
                </a:cubicBezTo>
                <a:lnTo>
                  <a:pt x="7952453" y="10309542"/>
                </a:lnTo>
                <a:lnTo>
                  <a:pt x="7941655" y="10302981"/>
                </a:lnTo>
                <a:cubicBezTo>
                  <a:pt x="7536716" y="10083005"/>
                  <a:pt x="7072664" y="9958053"/>
                  <a:pt x="6579430" y="9958053"/>
                </a:cubicBezTo>
                <a:cubicBezTo>
                  <a:pt x="5001079" y="9958053"/>
                  <a:pt x="3721572" y="11237559"/>
                  <a:pt x="3721572" y="12815910"/>
                </a:cubicBezTo>
                <a:cubicBezTo>
                  <a:pt x="3721572" y="13111851"/>
                  <a:pt x="3766555" y="13397285"/>
                  <a:pt x="3850055" y="13665749"/>
                </a:cubicBezTo>
                <a:lnTo>
                  <a:pt x="3868448" y="13716000"/>
                </a:lnTo>
                <a:lnTo>
                  <a:pt x="0" y="13716000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 lIns="0" tIns="0" rIns="0" bIns="0">
            <a:noAutofit/>
          </a:bodyPr>
          <a:lstStyle>
            <a:lvl1pPr>
              <a:defRPr/>
            </a:lvl1pPr>
          </a:lstStyle>
          <a:p>
            <a:r>
              <a:rPr lang="en-GB"/>
              <a:t>Sett inn </a:t>
            </a:r>
            <a:r>
              <a:rPr lang="en-GB" err="1"/>
              <a:t>bilde</a:t>
            </a:r>
            <a:r>
              <a:rPr lang="en-GB"/>
              <a:t> via “Sett inn” -&gt; “Bilde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29913" y="1428929"/>
            <a:ext cx="4937248" cy="4935641"/>
          </a:xfrm>
          <a:prstGeom prst="ellipse">
            <a:avLst/>
          </a:prstGeom>
          <a:noFill/>
        </p:spPr>
        <p:txBody>
          <a:bodyPr lIns="0" tIns="0" rIns="0" bIns="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3129ECF1-F0D3-4CD8-9C78-0C81B2D5F5E5}" type="datetimeFigureOut">
              <a:rPr lang="nb-NO" smtClean="0"/>
              <a:t>06.06.2024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4409EF66-46AA-4080-844D-5B92F1A6B3C3}" type="slidenum">
              <a:rPr lang="nb-NO" smtClean="0"/>
              <a:t>‹#›</a:t>
            </a:fld>
            <a:endParaRPr lang="nb-NO"/>
          </a:p>
        </p:txBody>
      </p:sp>
      <p:sp>
        <p:nvSpPr>
          <p:cNvPr id="31" name="Plassholder for tekst 29">
            <a:extLst>
              <a:ext uri="{FF2B5EF4-FFF2-40B4-BE49-F238E27FC236}">
                <a16:creationId xmlns:a16="http://schemas.microsoft.com/office/drawing/2014/main" id="{54FE5D8A-CDA7-45DD-9B27-02A834C31FFD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11682248" y="6096768"/>
            <a:ext cx="509753" cy="50958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  <p:sp>
        <p:nvSpPr>
          <p:cNvPr id="36" name="Plassholder for tekst 29">
            <a:extLst>
              <a:ext uri="{FF2B5EF4-FFF2-40B4-BE49-F238E27FC236}">
                <a16:creationId xmlns:a16="http://schemas.microsoft.com/office/drawing/2014/main" id="{AFA1220D-1696-435F-9FE2-43D4D7829CE9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11320411" y="6230098"/>
            <a:ext cx="12606" cy="24123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899159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 og bilde høyre  (Variant 2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ihåndsform: figur 17">
            <a:extLst>
              <a:ext uri="{FF2B5EF4-FFF2-40B4-BE49-F238E27FC236}">
                <a16:creationId xmlns:a16="http://schemas.microsoft.com/office/drawing/2014/main" id="{BB19A6C7-78C4-450C-8F12-BC74CFD6DFBE}"/>
              </a:ext>
            </a:extLst>
          </p:cNvPr>
          <p:cNvSpPr/>
          <p:nvPr/>
        </p:nvSpPr>
        <p:spPr>
          <a:xfrm>
            <a:off x="5173985" y="2"/>
            <a:ext cx="7018017" cy="3638869"/>
          </a:xfrm>
          <a:custGeom>
            <a:avLst/>
            <a:gdLst>
              <a:gd name="connsiteX0" fmla="*/ 0 w 14031465"/>
              <a:gd name="connsiteY0" fmla="*/ 0 h 7277737"/>
              <a:gd name="connsiteX1" fmla="*/ 14031465 w 14031465"/>
              <a:gd name="connsiteY1" fmla="*/ 0 h 7277737"/>
              <a:gd name="connsiteX2" fmla="*/ 14031465 w 14031465"/>
              <a:gd name="connsiteY2" fmla="*/ 5966641 h 7277737"/>
              <a:gd name="connsiteX3" fmla="*/ 13790543 w 14031465"/>
              <a:gd name="connsiteY3" fmla="*/ 6105898 h 7277737"/>
              <a:gd name="connsiteX4" fmla="*/ 9220983 w 14031465"/>
              <a:gd name="connsiteY4" fmla="*/ 7277737 h 7277737"/>
              <a:gd name="connsiteX5" fmla="*/ 38329 w 14031465"/>
              <a:gd name="connsiteY5" fmla="*/ 166074 h 727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031465" h="7277737">
                <a:moveTo>
                  <a:pt x="0" y="0"/>
                </a:moveTo>
                <a:lnTo>
                  <a:pt x="14031465" y="0"/>
                </a:lnTo>
                <a:lnTo>
                  <a:pt x="14031465" y="5966641"/>
                </a:lnTo>
                <a:lnTo>
                  <a:pt x="13790543" y="6105898"/>
                </a:lnTo>
                <a:cubicBezTo>
                  <a:pt x="12435315" y="6852772"/>
                  <a:pt x="10877777" y="7277737"/>
                  <a:pt x="9220983" y="7277737"/>
                </a:cubicBezTo>
                <a:cubicBezTo>
                  <a:pt x="4802867" y="7277737"/>
                  <a:pt x="1090560" y="4255761"/>
                  <a:pt x="38329" y="166074"/>
                </a:cubicBezTo>
                <a:close/>
              </a:path>
            </a:pathLst>
          </a:custGeom>
          <a:solidFill>
            <a:schemeClr val="accent4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899"/>
          </a:p>
        </p:txBody>
      </p:sp>
      <p:sp>
        <p:nvSpPr>
          <p:cNvPr id="21" name="Plassholder for bilde 20">
            <a:extLst>
              <a:ext uri="{FF2B5EF4-FFF2-40B4-BE49-F238E27FC236}">
                <a16:creationId xmlns:a16="http://schemas.microsoft.com/office/drawing/2014/main" id="{C88DF1A1-BDE6-40B9-BC88-1B0F743215D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46248" y="0"/>
            <a:ext cx="5845752" cy="6858000"/>
          </a:xfrm>
          <a:custGeom>
            <a:avLst/>
            <a:gdLst>
              <a:gd name="connsiteX0" fmla="*/ 4997975 w 11687699"/>
              <a:gd name="connsiteY0" fmla="*/ 0 h 13716000"/>
              <a:gd name="connsiteX1" fmla="*/ 9401699 w 11687699"/>
              <a:gd name="connsiteY1" fmla="*/ 0 h 13716000"/>
              <a:gd name="connsiteX2" fmla="*/ 11687699 w 11687699"/>
              <a:gd name="connsiteY2" fmla="*/ 1226312 h 13716000"/>
              <a:gd name="connsiteX3" fmla="*/ 11687699 w 11687699"/>
              <a:gd name="connsiteY3" fmla="*/ 12489688 h 13716000"/>
              <a:gd name="connsiteX4" fmla="*/ 9401699 w 11687699"/>
              <a:gd name="connsiteY4" fmla="*/ 13716000 h 13716000"/>
              <a:gd name="connsiteX5" fmla="*/ 4997847 w 11687699"/>
              <a:gd name="connsiteY5" fmla="*/ 13716000 h 13716000"/>
              <a:gd name="connsiteX6" fmla="*/ 5110 w 11687699"/>
              <a:gd name="connsiteY6" fmla="*/ 7157360 h 13716000"/>
              <a:gd name="connsiteX7" fmla="*/ 0 w 11687699"/>
              <a:gd name="connsiteY7" fmla="*/ 6906997 h 13716000"/>
              <a:gd name="connsiteX8" fmla="*/ 0 w 11687699"/>
              <a:gd name="connsiteY8" fmla="*/ 6809003 h 13716000"/>
              <a:gd name="connsiteX9" fmla="*/ 5110 w 11687699"/>
              <a:gd name="connsiteY9" fmla="*/ 6558641 h 13716000"/>
              <a:gd name="connsiteX10" fmla="*/ 4997975 w 11687699"/>
              <a:gd name="connsiteY10" fmla="*/ 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687699" h="13716000">
                <a:moveTo>
                  <a:pt x="4997975" y="0"/>
                </a:moveTo>
                <a:lnTo>
                  <a:pt x="9401699" y="0"/>
                </a:lnTo>
                <a:cubicBezTo>
                  <a:pt x="10231771" y="266706"/>
                  <a:pt x="11006345" y="682247"/>
                  <a:pt x="11687699" y="1226312"/>
                </a:cubicBezTo>
                <a:lnTo>
                  <a:pt x="11687699" y="12489688"/>
                </a:lnTo>
                <a:cubicBezTo>
                  <a:pt x="11006345" y="13033756"/>
                  <a:pt x="10231771" y="13449300"/>
                  <a:pt x="9401699" y="13716000"/>
                </a:cubicBezTo>
                <a:lnTo>
                  <a:pt x="4997847" y="13716000"/>
                </a:lnTo>
                <a:cubicBezTo>
                  <a:pt x="2188676" y="12814673"/>
                  <a:pt x="130973" y="10235081"/>
                  <a:pt x="5110" y="7157360"/>
                </a:cubicBezTo>
                <a:lnTo>
                  <a:pt x="0" y="6906997"/>
                </a:lnTo>
                <a:lnTo>
                  <a:pt x="0" y="6809003"/>
                </a:lnTo>
                <a:lnTo>
                  <a:pt x="5110" y="6558641"/>
                </a:lnTo>
                <a:cubicBezTo>
                  <a:pt x="130973" y="3480920"/>
                  <a:pt x="2188680" y="901327"/>
                  <a:pt x="4997975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225" y="2377415"/>
            <a:ext cx="5335677" cy="1828193"/>
          </a:xfrm>
        </p:spPr>
        <p:txBody>
          <a:bodyPr wrap="square" lIns="0" tIns="0" rIns="0" bIns="0">
            <a:noAutofit/>
          </a:bodyPr>
          <a:lstStyle>
            <a:lvl1pPr>
              <a:defRPr sz="4399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3129ECF1-F0D3-4CD8-9C78-0C81B2D5F5E5}" type="datetimeFigureOut">
              <a:rPr lang="nb-NO" smtClean="0"/>
              <a:t>06.06.2024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4409EF66-46AA-4080-844D-5B92F1A6B3C3}" type="slidenum">
              <a:rPr lang="nb-NO" smtClean="0"/>
              <a:t>‹#›</a:t>
            </a:fld>
            <a:endParaRPr lang="nb-NO"/>
          </a:p>
        </p:txBody>
      </p:sp>
      <p:sp>
        <p:nvSpPr>
          <p:cNvPr id="11" name="Frihåndsform: figur 10">
            <a:extLst>
              <a:ext uri="{FF2B5EF4-FFF2-40B4-BE49-F238E27FC236}">
                <a16:creationId xmlns:a16="http://schemas.microsoft.com/office/drawing/2014/main" id="{9D0BA09F-1AB7-4820-AAF4-357B04379CF2}"/>
              </a:ext>
            </a:extLst>
          </p:cNvPr>
          <p:cNvSpPr/>
          <p:nvPr/>
        </p:nvSpPr>
        <p:spPr>
          <a:xfrm>
            <a:off x="1" y="5111640"/>
            <a:ext cx="1746929" cy="1746360"/>
          </a:xfrm>
          <a:custGeom>
            <a:avLst/>
            <a:gdLst>
              <a:gd name="connsiteX0" fmla="*/ 3492720 w 3492720"/>
              <a:gd name="connsiteY0" fmla="*/ 3493640 h 3492720"/>
              <a:gd name="connsiteX1" fmla="*/ 0 w 3492720"/>
              <a:gd name="connsiteY1" fmla="*/ 920 h 3492720"/>
              <a:gd name="connsiteX2" fmla="*/ 0 w 3492720"/>
              <a:gd name="connsiteY2" fmla="*/ 3493640 h 349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2720" h="3492720">
                <a:moveTo>
                  <a:pt x="3492720" y="3493640"/>
                </a:moveTo>
                <a:cubicBezTo>
                  <a:pt x="3492720" y="1564642"/>
                  <a:pt x="1928998" y="920"/>
                  <a:pt x="0" y="920"/>
                </a:cubicBezTo>
                <a:lnTo>
                  <a:pt x="0" y="3493640"/>
                </a:lnTo>
                <a:close/>
              </a:path>
            </a:pathLst>
          </a:custGeom>
          <a:solidFill>
            <a:schemeClr val="accent4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899"/>
          </a:p>
        </p:txBody>
      </p:sp>
      <p:sp>
        <p:nvSpPr>
          <p:cNvPr id="22" name="Plassholder for tekst 29">
            <a:extLst>
              <a:ext uri="{FF2B5EF4-FFF2-40B4-BE49-F238E27FC236}">
                <a16:creationId xmlns:a16="http://schemas.microsoft.com/office/drawing/2014/main" id="{467C46CA-B925-4F9D-9892-3BE03A88CE0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11682248" y="6096768"/>
            <a:ext cx="509753" cy="50958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  <p:sp>
        <p:nvSpPr>
          <p:cNvPr id="26" name="Plassholder for tekst 29">
            <a:extLst>
              <a:ext uri="{FF2B5EF4-FFF2-40B4-BE49-F238E27FC236}">
                <a16:creationId xmlns:a16="http://schemas.microsoft.com/office/drawing/2014/main" id="{9C07BABA-FE02-49A3-8612-5A4D1589C4C0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11320411" y="6230098"/>
            <a:ext cx="12606" cy="24123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85977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 og bilde høyre #2  (Variant 2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ihåndsform: figur 17">
            <a:extLst>
              <a:ext uri="{FF2B5EF4-FFF2-40B4-BE49-F238E27FC236}">
                <a16:creationId xmlns:a16="http://schemas.microsoft.com/office/drawing/2014/main" id="{BB19A6C7-78C4-450C-8F12-BC74CFD6DFBE}"/>
              </a:ext>
            </a:extLst>
          </p:cNvPr>
          <p:cNvSpPr/>
          <p:nvPr/>
        </p:nvSpPr>
        <p:spPr>
          <a:xfrm>
            <a:off x="5173985" y="2"/>
            <a:ext cx="7018017" cy="3638869"/>
          </a:xfrm>
          <a:custGeom>
            <a:avLst/>
            <a:gdLst>
              <a:gd name="connsiteX0" fmla="*/ 0 w 14031465"/>
              <a:gd name="connsiteY0" fmla="*/ 0 h 7277737"/>
              <a:gd name="connsiteX1" fmla="*/ 14031465 w 14031465"/>
              <a:gd name="connsiteY1" fmla="*/ 0 h 7277737"/>
              <a:gd name="connsiteX2" fmla="*/ 14031465 w 14031465"/>
              <a:gd name="connsiteY2" fmla="*/ 5966641 h 7277737"/>
              <a:gd name="connsiteX3" fmla="*/ 13790543 w 14031465"/>
              <a:gd name="connsiteY3" fmla="*/ 6105898 h 7277737"/>
              <a:gd name="connsiteX4" fmla="*/ 9220983 w 14031465"/>
              <a:gd name="connsiteY4" fmla="*/ 7277737 h 7277737"/>
              <a:gd name="connsiteX5" fmla="*/ 38329 w 14031465"/>
              <a:gd name="connsiteY5" fmla="*/ 166074 h 727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031465" h="7277737">
                <a:moveTo>
                  <a:pt x="0" y="0"/>
                </a:moveTo>
                <a:lnTo>
                  <a:pt x="14031465" y="0"/>
                </a:lnTo>
                <a:lnTo>
                  <a:pt x="14031465" y="5966641"/>
                </a:lnTo>
                <a:lnTo>
                  <a:pt x="13790543" y="6105898"/>
                </a:lnTo>
                <a:cubicBezTo>
                  <a:pt x="12435315" y="6852772"/>
                  <a:pt x="10877777" y="7277737"/>
                  <a:pt x="9220983" y="7277737"/>
                </a:cubicBezTo>
                <a:cubicBezTo>
                  <a:pt x="4802867" y="7277737"/>
                  <a:pt x="1090560" y="4255761"/>
                  <a:pt x="38329" y="166074"/>
                </a:cubicBezTo>
                <a:close/>
              </a:path>
            </a:pathLst>
          </a:custGeom>
          <a:solidFill>
            <a:schemeClr val="accent4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899"/>
          </a:p>
        </p:txBody>
      </p:sp>
      <p:sp>
        <p:nvSpPr>
          <p:cNvPr id="14" name="Plassholder for bilde 10">
            <a:extLst>
              <a:ext uri="{FF2B5EF4-FFF2-40B4-BE49-F238E27FC236}">
                <a16:creationId xmlns:a16="http://schemas.microsoft.com/office/drawing/2014/main" id="{3F7E708B-D066-4A8C-A430-D0A7FD91CC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4040" y="253571"/>
            <a:ext cx="5527799" cy="6351724"/>
          </a:xfrm>
          <a:prstGeom prst="roundRect">
            <a:avLst>
              <a:gd name="adj" fmla="val 2388"/>
            </a:avLst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225" y="2377415"/>
            <a:ext cx="5335677" cy="1828193"/>
          </a:xfrm>
        </p:spPr>
        <p:txBody>
          <a:bodyPr wrap="square" lIns="0" tIns="0" rIns="0" bIns="0">
            <a:noAutofit/>
          </a:bodyPr>
          <a:lstStyle>
            <a:lvl1pPr>
              <a:defRPr sz="4399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3129ECF1-F0D3-4CD8-9C78-0C81B2D5F5E5}" type="datetimeFigureOut">
              <a:rPr lang="nb-NO" smtClean="0"/>
              <a:t>06.06.2024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4409EF66-46AA-4080-844D-5B92F1A6B3C3}" type="slidenum">
              <a:rPr lang="nb-NO" smtClean="0"/>
              <a:t>‹#›</a:t>
            </a:fld>
            <a:endParaRPr lang="nb-NO"/>
          </a:p>
        </p:txBody>
      </p:sp>
      <p:sp>
        <p:nvSpPr>
          <p:cNvPr id="11" name="Frihåndsform: figur 10">
            <a:extLst>
              <a:ext uri="{FF2B5EF4-FFF2-40B4-BE49-F238E27FC236}">
                <a16:creationId xmlns:a16="http://schemas.microsoft.com/office/drawing/2014/main" id="{9D0BA09F-1AB7-4820-AAF4-357B04379CF2}"/>
              </a:ext>
            </a:extLst>
          </p:cNvPr>
          <p:cNvSpPr/>
          <p:nvPr/>
        </p:nvSpPr>
        <p:spPr>
          <a:xfrm>
            <a:off x="1" y="5111640"/>
            <a:ext cx="1746929" cy="1746360"/>
          </a:xfrm>
          <a:custGeom>
            <a:avLst/>
            <a:gdLst>
              <a:gd name="connsiteX0" fmla="*/ 3492720 w 3492720"/>
              <a:gd name="connsiteY0" fmla="*/ 3493640 h 3492720"/>
              <a:gd name="connsiteX1" fmla="*/ 0 w 3492720"/>
              <a:gd name="connsiteY1" fmla="*/ 920 h 3492720"/>
              <a:gd name="connsiteX2" fmla="*/ 0 w 3492720"/>
              <a:gd name="connsiteY2" fmla="*/ 3493640 h 349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2720" h="3492720">
                <a:moveTo>
                  <a:pt x="3492720" y="3493640"/>
                </a:moveTo>
                <a:cubicBezTo>
                  <a:pt x="3492720" y="1564642"/>
                  <a:pt x="1928998" y="920"/>
                  <a:pt x="0" y="920"/>
                </a:cubicBezTo>
                <a:lnTo>
                  <a:pt x="0" y="3493640"/>
                </a:lnTo>
                <a:close/>
              </a:path>
            </a:pathLst>
          </a:custGeom>
          <a:solidFill>
            <a:schemeClr val="accent4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899"/>
          </a:p>
        </p:txBody>
      </p:sp>
      <p:sp>
        <p:nvSpPr>
          <p:cNvPr id="22" name="Plassholder for tekst 29">
            <a:extLst>
              <a:ext uri="{FF2B5EF4-FFF2-40B4-BE49-F238E27FC236}">
                <a16:creationId xmlns:a16="http://schemas.microsoft.com/office/drawing/2014/main" id="{467C46CA-B925-4F9D-9892-3BE03A88CE0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11682248" y="6096768"/>
            <a:ext cx="509753" cy="50958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  <p:sp>
        <p:nvSpPr>
          <p:cNvPr id="26" name="Plassholder for tekst 29">
            <a:extLst>
              <a:ext uri="{FF2B5EF4-FFF2-40B4-BE49-F238E27FC236}">
                <a16:creationId xmlns:a16="http://schemas.microsoft.com/office/drawing/2014/main" id="{9C07BABA-FE02-49A3-8612-5A4D1589C4C0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11320411" y="6230098"/>
            <a:ext cx="12606" cy="24123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00689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ilde (Variant 3)">
    <p:bg>
      <p:bgPr>
        <a:solidFill>
          <a:srgbClr val="ED3F2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225" y="479338"/>
            <a:ext cx="9428774" cy="775597"/>
          </a:xfrm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3129ECF1-F0D3-4CD8-9C78-0C81B2D5F5E5}" type="datetimeFigureOut">
              <a:rPr lang="nb-NO" smtClean="0"/>
              <a:t>06.06.2024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4409EF66-46AA-4080-844D-5B92F1A6B3C3}" type="slidenum">
              <a:rPr lang="nb-NO" smtClean="0"/>
              <a:t>‹#›</a:t>
            </a:fld>
            <a:endParaRPr lang="nb-NO"/>
          </a:p>
        </p:txBody>
      </p:sp>
      <p:sp>
        <p:nvSpPr>
          <p:cNvPr id="9" name="Frihåndsform: figur 8">
            <a:extLst>
              <a:ext uri="{FF2B5EF4-FFF2-40B4-BE49-F238E27FC236}">
                <a16:creationId xmlns:a16="http://schemas.microsoft.com/office/drawing/2014/main" id="{A5A3076C-020C-46B3-9627-40067259DBE0}"/>
              </a:ext>
            </a:extLst>
          </p:cNvPr>
          <p:cNvSpPr/>
          <p:nvPr/>
        </p:nvSpPr>
        <p:spPr>
          <a:xfrm>
            <a:off x="10448824" y="0"/>
            <a:ext cx="1746812" cy="1746244"/>
          </a:xfrm>
          <a:custGeom>
            <a:avLst/>
            <a:gdLst>
              <a:gd name="connsiteX0" fmla="*/ 367 w 3492487"/>
              <a:gd name="connsiteY0" fmla="*/ 0 h 3492488"/>
              <a:gd name="connsiteX1" fmla="*/ 3492855 w 3492487"/>
              <a:gd name="connsiteY1" fmla="*/ 3492488 h 3492488"/>
              <a:gd name="connsiteX2" fmla="*/ 3492855 w 3492487"/>
              <a:gd name="connsiteY2" fmla="*/ 0 h 3492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2487" h="3492488">
                <a:moveTo>
                  <a:pt x="367" y="0"/>
                </a:moveTo>
                <a:cubicBezTo>
                  <a:pt x="367" y="1928870"/>
                  <a:pt x="1563986" y="3492488"/>
                  <a:pt x="3492855" y="3492488"/>
                </a:cubicBezTo>
                <a:lnTo>
                  <a:pt x="3492855" y="0"/>
                </a:lnTo>
                <a:close/>
              </a:path>
            </a:pathLst>
          </a:custGeom>
          <a:solidFill>
            <a:schemeClr val="accent3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899"/>
          </a:p>
        </p:txBody>
      </p:sp>
      <p:sp>
        <p:nvSpPr>
          <p:cNvPr id="13" name="Frihåndsform: figur 12">
            <a:extLst>
              <a:ext uri="{FF2B5EF4-FFF2-40B4-BE49-F238E27FC236}">
                <a16:creationId xmlns:a16="http://schemas.microsoft.com/office/drawing/2014/main" id="{ABC5F55F-5983-487D-A0C6-07FE474F2A87}"/>
              </a:ext>
            </a:extLst>
          </p:cNvPr>
          <p:cNvSpPr/>
          <p:nvPr/>
        </p:nvSpPr>
        <p:spPr>
          <a:xfrm>
            <a:off x="2" y="3219440"/>
            <a:ext cx="7022164" cy="3638561"/>
          </a:xfrm>
          <a:custGeom>
            <a:avLst/>
            <a:gdLst>
              <a:gd name="connsiteX0" fmla="*/ 4819416 w 14039757"/>
              <a:gd name="connsiteY0" fmla="*/ 0 h 7277122"/>
              <a:gd name="connsiteX1" fmla="*/ 14001460 w 14039757"/>
              <a:gd name="connsiteY1" fmla="*/ 7111191 h 7277122"/>
              <a:gd name="connsiteX2" fmla="*/ 14039757 w 14039757"/>
              <a:gd name="connsiteY2" fmla="*/ 7277122 h 7277122"/>
              <a:gd name="connsiteX3" fmla="*/ 0 w 14039757"/>
              <a:gd name="connsiteY3" fmla="*/ 7277122 h 7277122"/>
              <a:gd name="connsiteX4" fmla="*/ 0 w 14039757"/>
              <a:gd name="connsiteY4" fmla="*/ 1316999 h 7277122"/>
              <a:gd name="connsiteX5" fmla="*/ 300442 w 14039757"/>
              <a:gd name="connsiteY5" fmla="*/ 1144249 h 7277122"/>
              <a:gd name="connsiteX6" fmla="*/ 4819416 w 14039757"/>
              <a:gd name="connsiteY6" fmla="*/ 0 h 72771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039757" h="7277122">
                <a:moveTo>
                  <a:pt x="4819416" y="0"/>
                </a:moveTo>
                <a:cubicBezTo>
                  <a:pt x="9237239" y="0"/>
                  <a:pt x="12949299" y="3021775"/>
                  <a:pt x="14001460" y="7111191"/>
                </a:cubicBezTo>
                <a:lnTo>
                  <a:pt x="14039757" y="7277122"/>
                </a:lnTo>
                <a:lnTo>
                  <a:pt x="0" y="7277122"/>
                </a:lnTo>
                <a:lnTo>
                  <a:pt x="0" y="1316999"/>
                </a:lnTo>
                <a:lnTo>
                  <a:pt x="300442" y="1144249"/>
                </a:lnTo>
                <a:cubicBezTo>
                  <a:pt x="1643767" y="414510"/>
                  <a:pt x="3183185" y="0"/>
                  <a:pt x="4819416" y="0"/>
                </a:cubicBezTo>
                <a:close/>
              </a:path>
            </a:pathLst>
          </a:custGeom>
          <a:solidFill>
            <a:schemeClr val="accent3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899"/>
          </a:p>
        </p:txBody>
      </p:sp>
      <p:sp>
        <p:nvSpPr>
          <p:cNvPr id="15" name="Plassholder for bilde 14">
            <a:extLst>
              <a:ext uri="{FF2B5EF4-FFF2-40B4-BE49-F238E27FC236}">
                <a16:creationId xmlns:a16="http://schemas.microsoft.com/office/drawing/2014/main" id="{D709A46D-5815-4D3F-BA66-48BBFF8105C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629913" y="1428929"/>
            <a:ext cx="4937248" cy="493564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7401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tfallende bilde med tittel  (Variant 3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llipse 23">
            <a:extLst>
              <a:ext uri="{FF2B5EF4-FFF2-40B4-BE49-F238E27FC236}">
                <a16:creationId xmlns:a16="http://schemas.microsoft.com/office/drawing/2014/main" id="{25F115B0-8BEE-4D68-9944-0FC8FFC8078B}"/>
              </a:ext>
            </a:extLst>
          </p:cNvPr>
          <p:cNvSpPr/>
          <p:nvPr/>
        </p:nvSpPr>
        <p:spPr>
          <a:xfrm>
            <a:off x="3629913" y="1428929"/>
            <a:ext cx="4937248" cy="4935641"/>
          </a:xfrm>
          <a:prstGeom prst="ellipse">
            <a:avLst/>
          </a:prstGeom>
          <a:solidFill>
            <a:srgbClr val="ED3F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899">
              <a:solidFill>
                <a:schemeClr val="bg1"/>
              </a:solidFill>
            </a:endParaRPr>
          </a:p>
        </p:txBody>
      </p:sp>
      <p:sp>
        <p:nvSpPr>
          <p:cNvPr id="35" name="Plassholder for bilde 34">
            <a:extLst>
              <a:ext uri="{FF2B5EF4-FFF2-40B4-BE49-F238E27FC236}">
                <a16:creationId xmlns:a16="http://schemas.microsoft.com/office/drawing/2014/main" id="{58E12416-0D89-4638-90ED-D533504B3CB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622" y="0"/>
            <a:ext cx="12193473" cy="6858000"/>
          </a:xfrm>
          <a:custGeom>
            <a:avLst/>
            <a:gdLst>
              <a:gd name="connsiteX0" fmla="*/ 0 w 24379009"/>
              <a:gd name="connsiteY0" fmla="*/ 0 h 13716000"/>
              <a:gd name="connsiteX1" fmla="*/ 20883941 w 24379009"/>
              <a:gd name="connsiteY1" fmla="*/ 0 h 13716000"/>
              <a:gd name="connsiteX2" fmla="*/ 24376429 w 24379009"/>
              <a:gd name="connsiteY2" fmla="*/ 3492488 h 13716000"/>
              <a:gd name="connsiteX3" fmla="*/ 24379009 w 24379009"/>
              <a:gd name="connsiteY3" fmla="*/ 13716000 h 13716000"/>
              <a:gd name="connsiteX4" fmla="*/ 9290409 w 24379009"/>
              <a:gd name="connsiteY4" fmla="*/ 13716000 h 13716000"/>
              <a:gd name="connsiteX5" fmla="*/ 9308801 w 24379009"/>
              <a:gd name="connsiteY5" fmla="*/ 13665749 h 13716000"/>
              <a:gd name="connsiteX6" fmla="*/ 9437284 w 24379009"/>
              <a:gd name="connsiteY6" fmla="*/ 12815910 h 13716000"/>
              <a:gd name="connsiteX7" fmla="*/ 9308801 w 24379009"/>
              <a:gd name="connsiteY7" fmla="*/ 11966071 h 13716000"/>
              <a:gd name="connsiteX8" fmla="*/ 9224835 w 24379009"/>
              <a:gd name="connsiteY8" fmla="*/ 11736659 h 13716000"/>
              <a:gd name="connsiteX9" fmla="*/ 9240032 w 24379009"/>
              <a:gd name="connsiteY9" fmla="*/ 11748601 h 13716000"/>
              <a:gd name="connsiteX10" fmla="*/ 12193104 w 24379009"/>
              <a:gd name="connsiteY10" fmla="*/ 12729138 h 13716000"/>
              <a:gd name="connsiteX11" fmla="*/ 17128745 w 24379009"/>
              <a:gd name="connsiteY11" fmla="*/ 7793497 h 13716000"/>
              <a:gd name="connsiteX12" fmla="*/ 12193104 w 24379009"/>
              <a:gd name="connsiteY12" fmla="*/ 2857856 h 13716000"/>
              <a:gd name="connsiteX13" fmla="*/ 7257466 w 24379009"/>
              <a:gd name="connsiteY13" fmla="*/ 7793497 h 13716000"/>
              <a:gd name="connsiteX14" fmla="*/ 7853171 w 24379009"/>
              <a:gd name="connsiteY14" fmla="*/ 10146116 h 13716000"/>
              <a:gd name="connsiteX15" fmla="*/ 7952453 w 24379009"/>
              <a:gd name="connsiteY15" fmla="*/ 10309542 h 13716000"/>
              <a:gd name="connsiteX16" fmla="*/ 7941655 w 24379009"/>
              <a:gd name="connsiteY16" fmla="*/ 10302981 h 13716000"/>
              <a:gd name="connsiteX17" fmla="*/ 6579430 w 24379009"/>
              <a:gd name="connsiteY17" fmla="*/ 9958053 h 13716000"/>
              <a:gd name="connsiteX18" fmla="*/ 3721572 w 24379009"/>
              <a:gd name="connsiteY18" fmla="*/ 12815910 h 13716000"/>
              <a:gd name="connsiteX19" fmla="*/ 3850055 w 24379009"/>
              <a:gd name="connsiteY19" fmla="*/ 13665749 h 13716000"/>
              <a:gd name="connsiteX20" fmla="*/ 3868448 w 24379009"/>
              <a:gd name="connsiteY20" fmla="*/ 13716000 h 13716000"/>
              <a:gd name="connsiteX21" fmla="*/ 0 w 24379009"/>
              <a:gd name="connsiteY21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4379009" h="13716000">
                <a:moveTo>
                  <a:pt x="0" y="0"/>
                </a:moveTo>
                <a:lnTo>
                  <a:pt x="20883941" y="0"/>
                </a:lnTo>
                <a:cubicBezTo>
                  <a:pt x="20883941" y="1928870"/>
                  <a:pt x="22447561" y="3492488"/>
                  <a:pt x="24376429" y="3492488"/>
                </a:cubicBezTo>
                <a:cubicBezTo>
                  <a:pt x="24377289" y="6900325"/>
                  <a:pt x="24378149" y="10308163"/>
                  <a:pt x="24379009" y="13716000"/>
                </a:cubicBezTo>
                <a:lnTo>
                  <a:pt x="9290409" y="13716000"/>
                </a:lnTo>
                <a:lnTo>
                  <a:pt x="9308801" y="13665749"/>
                </a:lnTo>
                <a:cubicBezTo>
                  <a:pt x="9392302" y="13397285"/>
                  <a:pt x="9437284" y="13111851"/>
                  <a:pt x="9437284" y="12815910"/>
                </a:cubicBezTo>
                <a:cubicBezTo>
                  <a:pt x="9437284" y="12519969"/>
                  <a:pt x="9392302" y="12234535"/>
                  <a:pt x="9308801" y="11966071"/>
                </a:cubicBezTo>
                <a:lnTo>
                  <a:pt x="9224835" y="11736659"/>
                </a:lnTo>
                <a:lnTo>
                  <a:pt x="9240032" y="11748601"/>
                </a:lnTo>
                <a:cubicBezTo>
                  <a:pt x="10063507" y="12364441"/>
                  <a:pt x="11085716" y="12729138"/>
                  <a:pt x="12193104" y="12729138"/>
                </a:cubicBezTo>
                <a:cubicBezTo>
                  <a:pt x="14918983" y="12729138"/>
                  <a:pt x="17128745" y="10519376"/>
                  <a:pt x="17128745" y="7793497"/>
                </a:cubicBezTo>
                <a:cubicBezTo>
                  <a:pt x="17128745" y="5067618"/>
                  <a:pt x="14918983" y="2857856"/>
                  <a:pt x="12193104" y="2857856"/>
                </a:cubicBezTo>
                <a:cubicBezTo>
                  <a:pt x="9467225" y="2857856"/>
                  <a:pt x="7257466" y="5067618"/>
                  <a:pt x="7257466" y="7793497"/>
                </a:cubicBezTo>
                <a:cubicBezTo>
                  <a:pt x="7257466" y="8645334"/>
                  <a:pt x="7473261" y="9446769"/>
                  <a:pt x="7853171" y="10146116"/>
                </a:cubicBezTo>
                <a:lnTo>
                  <a:pt x="7952453" y="10309542"/>
                </a:lnTo>
                <a:lnTo>
                  <a:pt x="7941655" y="10302981"/>
                </a:lnTo>
                <a:cubicBezTo>
                  <a:pt x="7536716" y="10083005"/>
                  <a:pt x="7072664" y="9958053"/>
                  <a:pt x="6579430" y="9958053"/>
                </a:cubicBezTo>
                <a:cubicBezTo>
                  <a:pt x="5001079" y="9958053"/>
                  <a:pt x="3721572" y="11237559"/>
                  <a:pt x="3721572" y="12815910"/>
                </a:cubicBezTo>
                <a:cubicBezTo>
                  <a:pt x="3721572" y="13111851"/>
                  <a:pt x="3766555" y="13397285"/>
                  <a:pt x="3850055" y="13665749"/>
                </a:cubicBezTo>
                <a:lnTo>
                  <a:pt x="3868448" y="13716000"/>
                </a:lnTo>
                <a:lnTo>
                  <a:pt x="0" y="13716000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 lIns="0" tIns="0" rIns="0" bIns="0">
            <a:noAutofit/>
          </a:bodyPr>
          <a:lstStyle>
            <a:lvl1pPr>
              <a:defRPr/>
            </a:lvl1pPr>
          </a:lstStyle>
          <a:p>
            <a:r>
              <a:rPr lang="en-GB"/>
              <a:t>Sett inn </a:t>
            </a:r>
            <a:r>
              <a:rPr lang="en-GB" err="1"/>
              <a:t>bilde</a:t>
            </a:r>
            <a:r>
              <a:rPr lang="en-GB"/>
              <a:t> via “Sett inn” -&gt; “Bilde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29913" y="1428929"/>
            <a:ext cx="4937248" cy="4935641"/>
          </a:xfrm>
          <a:prstGeom prst="ellipse">
            <a:avLst/>
          </a:prstGeom>
          <a:noFill/>
        </p:spPr>
        <p:txBody>
          <a:bodyPr lIns="0" tIns="0" rIns="0" bIns="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3129ECF1-F0D3-4CD8-9C78-0C81B2D5F5E5}" type="datetimeFigureOut">
              <a:rPr lang="nb-NO" smtClean="0"/>
              <a:t>06.06.2024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4409EF66-46AA-4080-844D-5B92F1A6B3C3}" type="slidenum">
              <a:rPr lang="nb-NO" smtClean="0"/>
              <a:t>‹#›</a:t>
            </a:fld>
            <a:endParaRPr lang="nb-NO"/>
          </a:p>
        </p:txBody>
      </p:sp>
      <p:sp>
        <p:nvSpPr>
          <p:cNvPr id="31" name="Plassholder for tekst 29">
            <a:extLst>
              <a:ext uri="{FF2B5EF4-FFF2-40B4-BE49-F238E27FC236}">
                <a16:creationId xmlns:a16="http://schemas.microsoft.com/office/drawing/2014/main" id="{54FE5D8A-CDA7-45DD-9B27-02A834C31FFD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11682248" y="6096768"/>
            <a:ext cx="509753" cy="50958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  <p:sp>
        <p:nvSpPr>
          <p:cNvPr id="36" name="Plassholder for tekst 29">
            <a:extLst>
              <a:ext uri="{FF2B5EF4-FFF2-40B4-BE49-F238E27FC236}">
                <a16:creationId xmlns:a16="http://schemas.microsoft.com/office/drawing/2014/main" id="{AFA1220D-1696-435F-9FE2-43D4D7829CE9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11320411" y="6230098"/>
            <a:ext cx="12606" cy="24123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243588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 og bilde høyre  (Variant 3)">
    <p:bg>
      <p:bgPr>
        <a:solidFill>
          <a:srgbClr val="ED3F2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ihåndsform: figur 17">
            <a:extLst>
              <a:ext uri="{FF2B5EF4-FFF2-40B4-BE49-F238E27FC236}">
                <a16:creationId xmlns:a16="http://schemas.microsoft.com/office/drawing/2014/main" id="{BB19A6C7-78C4-450C-8F12-BC74CFD6DFBE}"/>
              </a:ext>
            </a:extLst>
          </p:cNvPr>
          <p:cNvSpPr/>
          <p:nvPr/>
        </p:nvSpPr>
        <p:spPr>
          <a:xfrm>
            <a:off x="5173985" y="2"/>
            <a:ext cx="7018017" cy="3638869"/>
          </a:xfrm>
          <a:custGeom>
            <a:avLst/>
            <a:gdLst>
              <a:gd name="connsiteX0" fmla="*/ 0 w 14031465"/>
              <a:gd name="connsiteY0" fmla="*/ 0 h 7277737"/>
              <a:gd name="connsiteX1" fmla="*/ 14031465 w 14031465"/>
              <a:gd name="connsiteY1" fmla="*/ 0 h 7277737"/>
              <a:gd name="connsiteX2" fmla="*/ 14031465 w 14031465"/>
              <a:gd name="connsiteY2" fmla="*/ 5966641 h 7277737"/>
              <a:gd name="connsiteX3" fmla="*/ 13790543 w 14031465"/>
              <a:gd name="connsiteY3" fmla="*/ 6105898 h 7277737"/>
              <a:gd name="connsiteX4" fmla="*/ 9220983 w 14031465"/>
              <a:gd name="connsiteY4" fmla="*/ 7277737 h 7277737"/>
              <a:gd name="connsiteX5" fmla="*/ 38329 w 14031465"/>
              <a:gd name="connsiteY5" fmla="*/ 166074 h 727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031465" h="7277737">
                <a:moveTo>
                  <a:pt x="0" y="0"/>
                </a:moveTo>
                <a:lnTo>
                  <a:pt x="14031465" y="0"/>
                </a:lnTo>
                <a:lnTo>
                  <a:pt x="14031465" y="5966641"/>
                </a:lnTo>
                <a:lnTo>
                  <a:pt x="13790543" y="6105898"/>
                </a:lnTo>
                <a:cubicBezTo>
                  <a:pt x="12435315" y="6852772"/>
                  <a:pt x="10877777" y="7277737"/>
                  <a:pt x="9220983" y="7277737"/>
                </a:cubicBezTo>
                <a:cubicBezTo>
                  <a:pt x="4802867" y="7277737"/>
                  <a:pt x="1090560" y="4255761"/>
                  <a:pt x="38329" y="166074"/>
                </a:cubicBezTo>
                <a:close/>
              </a:path>
            </a:pathLst>
          </a:custGeom>
          <a:solidFill>
            <a:schemeClr val="accent3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899"/>
          </a:p>
        </p:txBody>
      </p:sp>
      <p:sp>
        <p:nvSpPr>
          <p:cNvPr id="21" name="Plassholder for bilde 20">
            <a:extLst>
              <a:ext uri="{FF2B5EF4-FFF2-40B4-BE49-F238E27FC236}">
                <a16:creationId xmlns:a16="http://schemas.microsoft.com/office/drawing/2014/main" id="{C88DF1A1-BDE6-40B9-BC88-1B0F743215D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46248" y="0"/>
            <a:ext cx="5845752" cy="6858000"/>
          </a:xfrm>
          <a:custGeom>
            <a:avLst/>
            <a:gdLst>
              <a:gd name="connsiteX0" fmla="*/ 4997975 w 11687699"/>
              <a:gd name="connsiteY0" fmla="*/ 0 h 13716000"/>
              <a:gd name="connsiteX1" fmla="*/ 9401699 w 11687699"/>
              <a:gd name="connsiteY1" fmla="*/ 0 h 13716000"/>
              <a:gd name="connsiteX2" fmla="*/ 11687699 w 11687699"/>
              <a:gd name="connsiteY2" fmla="*/ 1226312 h 13716000"/>
              <a:gd name="connsiteX3" fmla="*/ 11687699 w 11687699"/>
              <a:gd name="connsiteY3" fmla="*/ 12489688 h 13716000"/>
              <a:gd name="connsiteX4" fmla="*/ 9401699 w 11687699"/>
              <a:gd name="connsiteY4" fmla="*/ 13716000 h 13716000"/>
              <a:gd name="connsiteX5" fmla="*/ 4997847 w 11687699"/>
              <a:gd name="connsiteY5" fmla="*/ 13716000 h 13716000"/>
              <a:gd name="connsiteX6" fmla="*/ 5110 w 11687699"/>
              <a:gd name="connsiteY6" fmla="*/ 7157360 h 13716000"/>
              <a:gd name="connsiteX7" fmla="*/ 0 w 11687699"/>
              <a:gd name="connsiteY7" fmla="*/ 6906997 h 13716000"/>
              <a:gd name="connsiteX8" fmla="*/ 0 w 11687699"/>
              <a:gd name="connsiteY8" fmla="*/ 6809003 h 13716000"/>
              <a:gd name="connsiteX9" fmla="*/ 5110 w 11687699"/>
              <a:gd name="connsiteY9" fmla="*/ 6558641 h 13716000"/>
              <a:gd name="connsiteX10" fmla="*/ 4997975 w 11687699"/>
              <a:gd name="connsiteY10" fmla="*/ 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687699" h="13716000">
                <a:moveTo>
                  <a:pt x="4997975" y="0"/>
                </a:moveTo>
                <a:lnTo>
                  <a:pt x="9401699" y="0"/>
                </a:lnTo>
                <a:cubicBezTo>
                  <a:pt x="10231771" y="266706"/>
                  <a:pt x="11006345" y="682247"/>
                  <a:pt x="11687699" y="1226312"/>
                </a:cubicBezTo>
                <a:lnTo>
                  <a:pt x="11687699" y="12489688"/>
                </a:lnTo>
                <a:cubicBezTo>
                  <a:pt x="11006345" y="13033756"/>
                  <a:pt x="10231771" y="13449300"/>
                  <a:pt x="9401699" y="13716000"/>
                </a:cubicBezTo>
                <a:lnTo>
                  <a:pt x="4997847" y="13716000"/>
                </a:lnTo>
                <a:cubicBezTo>
                  <a:pt x="2188676" y="12814673"/>
                  <a:pt x="130973" y="10235081"/>
                  <a:pt x="5110" y="7157360"/>
                </a:cubicBezTo>
                <a:lnTo>
                  <a:pt x="0" y="6906997"/>
                </a:lnTo>
                <a:lnTo>
                  <a:pt x="0" y="6809003"/>
                </a:lnTo>
                <a:lnTo>
                  <a:pt x="5110" y="6558641"/>
                </a:lnTo>
                <a:cubicBezTo>
                  <a:pt x="130973" y="3480920"/>
                  <a:pt x="2188680" y="901327"/>
                  <a:pt x="4997975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225" y="2377415"/>
            <a:ext cx="5335677" cy="1828193"/>
          </a:xfrm>
        </p:spPr>
        <p:txBody>
          <a:bodyPr wrap="square" lIns="0" tIns="0" rIns="0" bIns="0">
            <a:noAutofit/>
          </a:bodyPr>
          <a:lstStyle>
            <a:lvl1pPr>
              <a:defRPr sz="4399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3129ECF1-F0D3-4CD8-9C78-0C81B2D5F5E5}" type="datetimeFigureOut">
              <a:rPr lang="nb-NO" smtClean="0"/>
              <a:t>06.06.2024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4409EF66-46AA-4080-844D-5B92F1A6B3C3}" type="slidenum">
              <a:rPr lang="nb-NO" smtClean="0"/>
              <a:t>‹#›</a:t>
            </a:fld>
            <a:endParaRPr lang="nb-NO"/>
          </a:p>
        </p:txBody>
      </p:sp>
      <p:sp>
        <p:nvSpPr>
          <p:cNvPr id="11" name="Frihåndsform: figur 10">
            <a:extLst>
              <a:ext uri="{FF2B5EF4-FFF2-40B4-BE49-F238E27FC236}">
                <a16:creationId xmlns:a16="http://schemas.microsoft.com/office/drawing/2014/main" id="{9D0BA09F-1AB7-4820-AAF4-357B04379CF2}"/>
              </a:ext>
            </a:extLst>
          </p:cNvPr>
          <p:cNvSpPr/>
          <p:nvPr/>
        </p:nvSpPr>
        <p:spPr>
          <a:xfrm>
            <a:off x="1" y="5111640"/>
            <a:ext cx="1746929" cy="1746360"/>
          </a:xfrm>
          <a:custGeom>
            <a:avLst/>
            <a:gdLst>
              <a:gd name="connsiteX0" fmla="*/ 3492720 w 3492720"/>
              <a:gd name="connsiteY0" fmla="*/ 3493640 h 3492720"/>
              <a:gd name="connsiteX1" fmla="*/ 0 w 3492720"/>
              <a:gd name="connsiteY1" fmla="*/ 920 h 3492720"/>
              <a:gd name="connsiteX2" fmla="*/ 0 w 3492720"/>
              <a:gd name="connsiteY2" fmla="*/ 3493640 h 349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2720" h="3492720">
                <a:moveTo>
                  <a:pt x="3492720" y="3493640"/>
                </a:moveTo>
                <a:cubicBezTo>
                  <a:pt x="3492720" y="1564642"/>
                  <a:pt x="1928998" y="920"/>
                  <a:pt x="0" y="920"/>
                </a:cubicBezTo>
                <a:lnTo>
                  <a:pt x="0" y="3493640"/>
                </a:lnTo>
                <a:close/>
              </a:path>
            </a:pathLst>
          </a:custGeom>
          <a:solidFill>
            <a:schemeClr val="accent3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899"/>
          </a:p>
        </p:txBody>
      </p:sp>
      <p:sp>
        <p:nvSpPr>
          <p:cNvPr id="22" name="Plassholder for tekst 29">
            <a:extLst>
              <a:ext uri="{FF2B5EF4-FFF2-40B4-BE49-F238E27FC236}">
                <a16:creationId xmlns:a16="http://schemas.microsoft.com/office/drawing/2014/main" id="{467C46CA-B925-4F9D-9892-3BE03A88CE0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11682248" y="6096768"/>
            <a:ext cx="509753" cy="50958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  <p:sp>
        <p:nvSpPr>
          <p:cNvPr id="26" name="Plassholder for tekst 29">
            <a:extLst>
              <a:ext uri="{FF2B5EF4-FFF2-40B4-BE49-F238E27FC236}">
                <a16:creationId xmlns:a16="http://schemas.microsoft.com/office/drawing/2014/main" id="{9C07BABA-FE02-49A3-8612-5A4D1589C4C0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11320411" y="6230098"/>
            <a:ext cx="12606" cy="24123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41654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 og bilde høyre #2  (Variant 3)">
    <p:bg>
      <p:bgPr>
        <a:solidFill>
          <a:srgbClr val="ED3F2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ihåndsform: figur 17">
            <a:extLst>
              <a:ext uri="{FF2B5EF4-FFF2-40B4-BE49-F238E27FC236}">
                <a16:creationId xmlns:a16="http://schemas.microsoft.com/office/drawing/2014/main" id="{BB19A6C7-78C4-450C-8F12-BC74CFD6DFBE}"/>
              </a:ext>
            </a:extLst>
          </p:cNvPr>
          <p:cNvSpPr/>
          <p:nvPr/>
        </p:nvSpPr>
        <p:spPr>
          <a:xfrm>
            <a:off x="5173985" y="2"/>
            <a:ext cx="7018017" cy="3638869"/>
          </a:xfrm>
          <a:custGeom>
            <a:avLst/>
            <a:gdLst>
              <a:gd name="connsiteX0" fmla="*/ 0 w 14031465"/>
              <a:gd name="connsiteY0" fmla="*/ 0 h 7277737"/>
              <a:gd name="connsiteX1" fmla="*/ 14031465 w 14031465"/>
              <a:gd name="connsiteY1" fmla="*/ 0 h 7277737"/>
              <a:gd name="connsiteX2" fmla="*/ 14031465 w 14031465"/>
              <a:gd name="connsiteY2" fmla="*/ 5966641 h 7277737"/>
              <a:gd name="connsiteX3" fmla="*/ 13790543 w 14031465"/>
              <a:gd name="connsiteY3" fmla="*/ 6105898 h 7277737"/>
              <a:gd name="connsiteX4" fmla="*/ 9220983 w 14031465"/>
              <a:gd name="connsiteY4" fmla="*/ 7277737 h 7277737"/>
              <a:gd name="connsiteX5" fmla="*/ 38329 w 14031465"/>
              <a:gd name="connsiteY5" fmla="*/ 166074 h 727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031465" h="7277737">
                <a:moveTo>
                  <a:pt x="0" y="0"/>
                </a:moveTo>
                <a:lnTo>
                  <a:pt x="14031465" y="0"/>
                </a:lnTo>
                <a:lnTo>
                  <a:pt x="14031465" y="5966641"/>
                </a:lnTo>
                <a:lnTo>
                  <a:pt x="13790543" y="6105898"/>
                </a:lnTo>
                <a:cubicBezTo>
                  <a:pt x="12435315" y="6852772"/>
                  <a:pt x="10877777" y="7277737"/>
                  <a:pt x="9220983" y="7277737"/>
                </a:cubicBezTo>
                <a:cubicBezTo>
                  <a:pt x="4802867" y="7277737"/>
                  <a:pt x="1090560" y="4255761"/>
                  <a:pt x="38329" y="166074"/>
                </a:cubicBezTo>
                <a:close/>
              </a:path>
            </a:pathLst>
          </a:custGeom>
          <a:solidFill>
            <a:schemeClr val="accent3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899"/>
          </a:p>
        </p:txBody>
      </p:sp>
      <p:sp>
        <p:nvSpPr>
          <p:cNvPr id="14" name="Plassholder for bilde 10">
            <a:extLst>
              <a:ext uri="{FF2B5EF4-FFF2-40B4-BE49-F238E27FC236}">
                <a16:creationId xmlns:a16="http://schemas.microsoft.com/office/drawing/2014/main" id="{3F7E708B-D066-4A8C-A430-D0A7FD91CC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4040" y="253571"/>
            <a:ext cx="5527799" cy="6351724"/>
          </a:xfrm>
          <a:prstGeom prst="roundRect">
            <a:avLst>
              <a:gd name="adj" fmla="val 2388"/>
            </a:avLst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225" y="2377415"/>
            <a:ext cx="5335677" cy="1828193"/>
          </a:xfrm>
        </p:spPr>
        <p:txBody>
          <a:bodyPr wrap="square" lIns="0" tIns="0" rIns="0" bIns="0">
            <a:noAutofit/>
          </a:bodyPr>
          <a:lstStyle>
            <a:lvl1pPr>
              <a:defRPr sz="4399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3129ECF1-F0D3-4CD8-9C78-0C81B2D5F5E5}" type="datetimeFigureOut">
              <a:rPr lang="nb-NO" smtClean="0"/>
              <a:t>06.06.2024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4409EF66-46AA-4080-844D-5B92F1A6B3C3}" type="slidenum">
              <a:rPr lang="nb-NO" smtClean="0"/>
              <a:t>‹#›</a:t>
            </a:fld>
            <a:endParaRPr lang="nb-NO"/>
          </a:p>
        </p:txBody>
      </p:sp>
      <p:sp>
        <p:nvSpPr>
          <p:cNvPr id="11" name="Frihåndsform: figur 10">
            <a:extLst>
              <a:ext uri="{FF2B5EF4-FFF2-40B4-BE49-F238E27FC236}">
                <a16:creationId xmlns:a16="http://schemas.microsoft.com/office/drawing/2014/main" id="{9D0BA09F-1AB7-4820-AAF4-357B04379CF2}"/>
              </a:ext>
            </a:extLst>
          </p:cNvPr>
          <p:cNvSpPr/>
          <p:nvPr/>
        </p:nvSpPr>
        <p:spPr>
          <a:xfrm>
            <a:off x="1" y="5111640"/>
            <a:ext cx="1746929" cy="1746360"/>
          </a:xfrm>
          <a:custGeom>
            <a:avLst/>
            <a:gdLst>
              <a:gd name="connsiteX0" fmla="*/ 3492720 w 3492720"/>
              <a:gd name="connsiteY0" fmla="*/ 3493640 h 3492720"/>
              <a:gd name="connsiteX1" fmla="*/ 0 w 3492720"/>
              <a:gd name="connsiteY1" fmla="*/ 920 h 3492720"/>
              <a:gd name="connsiteX2" fmla="*/ 0 w 3492720"/>
              <a:gd name="connsiteY2" fmla="*/ 3493640 h 349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2720" h="3492720">
                <a:moveTo>
                  <a:pt x="3492720" y="3493640"/>
                </a:moveTo>
                <a:cubicBezTo>
                  <a:pt x="3492720" y="1564642"/>
                  <a:pt x="1928998" y="920"/>
                  <a:pt x="0" y="920"/>
                </a:cubicBezTo>
                <a:lnTo>
                  <a:pt x="0" y="3493640"/>
                </a:lnTo>
                <a:close/>
              </a:path>
            </a:pathLst>
          </a:custGeom>
          <a:solidFill>
            <a:schemeClr val="accent3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899"/>
          </a:p>
        </p:txBody>
      </p:sp>
      <p:sp>
        <p:nvSpPr>
          <p:cNvPr id="22" name="Plassholder for tekst 29">
            <a:extLst>
              <a:ext uri="{FF2B5EF4-FFF2-40B4-BE49-F238E27FC236}">
                <a16:creationId xmlns:a16="http://schemas.microsoft.com/office/drawing/2014/main" id="{467C46CA-B925-4F9D-9892-3BE03A88CE0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11682248" y="6096768"/>
            <a:ext cx="509753" cy="50958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  <p:sp>
        <p:nvSpPr>
          <p:cNvPr id="26" name="Plassholder for tekst 29">
            <a:extLst>
              <a:ext uri="{FF2B5EF4-FFF2-40B4-BE49-F238E27FC236}">
                <a16:creationId xmlns:a16="http://schemas.microsoft.com/office/drawing/2014/main" id="{9C07BABA-FE02-49A3-8612-5A4D1589C4C0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11320411" y="6230098"/>
            <a:ext cx="12606" cy="24123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790833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ilde (Variant 4)">
    <p:bg>
      <p:bgPr>
        <a:solidFill>
          <a:srgbClr val="554C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225" y="479338"/>
            <a:ext cx="9428774" cy="775597"/>
          </a:xfrm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3129ECF1-F0D3-4CD8-9C78-0C81B2D5F5E5}" type="datetimeFigureOut">
              <a:rPr lang="nb-NO" smtClean="0"/>
              <a:t>06.06.2024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4409EF66-46AA-4080-844D-5B92F1A6B3C3}" type="slidenum">
              <a:rPr lang="nb-NO" smtClean="0"/>
              <a:t>‹#›</a:t>
            </a:fld>
            <a:endParaRPr lang="nb-NO"/>
          </a:p>
        </p:txBody>
      </p:sp>
      <p:sp>
        <p:nvSpPr>
          <p:cNvPr id="9" name="Frihåndsform: figur 8">
            <a:extLst>
              <a:ext uri="{FF2B5EF4-FFF2-40B4-BE49-F238E27FC236}">
                <a16:creationId xmlns:a16="http://schemas.microsoft.com/office/drawing/2014/main" id="{A5A3076C-020C-46B3-9627-40067259DBE0}"/>
              </a:ext>
            </a:extLst>
          </p:cNvPr>
          <p:cNvSpPr/>
          <p:nvPr/>
        </p:nvSpPr>
        <p:spPr>
          <a:xfrm>
            <a:off x="10448824" y="0"/>
            <a:ext cx="1746812" cy="1746244"/>
          </a:xfrm>
          <a:custGeom>
            <a:avLst/>
            <a:gdLst>
              <a:gd name="connsiteX0" fmla="*/ 367 w 3492487"/>
              <a:gd name="connsiteY0" fmla="*/ 0 h 3492488"/>
              <a:gd name="connsiteX1" fmla="*/ 3492855 w 3492487"/>
              <a:gd name="connsiteY1" fmla="*/ 3492488 h 3492488"/>
              <a:gd name="connsiteX2" fmla="*/ 3492855 w 3492487"/>
              <a:gd name="connsiteY2" fmla="*/ 0 h 3492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2487" h="3492488">
                <a:moveTo>
                  <a:pt x="367" y="0"/>
                </a:moveTo>
                <a:cubicBezTo>
                  <a:pt x="367" y="1928870"/>
                  <a:pt x="1563986" y="3492488"/>
                  <a:pt x="3492855" y="3492488"/>
                </a:cubicBezTo>
                <a:lnTo>
                  <a:pt x="3492855" y="0"/>
                </a:lnTo>
                <a:close/>
              </a:path>
            </a:pathLst>
          </a:custGeom>
          <a:solidFill>
            <a:schemeClr val="accent6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899"/>
          </a:p>
        </p:txBody>
      </p:sp>
      <p:sp>
        <p:nvSpPr>
          <p:cNvPr id="13" name="Frihåndsform: figur 12">
            <a:extLst>
              <a:ext uri="{FF2B5EF4-FFF2-40B4-BE49-F238E27FC236}">
                <a16:creationId xmlns:a16="http://schemas.microsoft.com/office/drawing/2014/main" id="{ABC5F55F-5983-487D-A0C6-07FE474F2A87}"/>
              </a:ext>
            </a:extLst>
          </p:cNvPr>
          <p:cNvSpPr/>
          <p:nvPr/>
        </p:nvSpPr>
        <p:spPr>
          <a:xfrm>
            <a:off x="2" y="3219440"/>
            <a:ext cx="7022164" cy="3638561"/>
          </a:xfrm>
          <a:custGeom>
            <a:avLst/>
            <a:gdLst>
              <a:gd name="connsiteX0" fmla="*/ 4819416 w 14039757"/>
              <a:gd name="connsiteY0" fmla="*/ 0 h 7277122"/>
              <a:gd name="connsiteX1" fmla="*/ 14001460 w 14039757"/>
              <a:gd name="connsiteY1" fmla="*/ 7111191 h 7277122"/>
              <a:gd name="connsiteX2" fmla="*/ 14039757 w 14039757"/>
              <a:gd name="connsiteY2" fmla="*/ 7277122 h 7277122"/>
              <a:gd name="connsiteX3" fmla="*/ 0 w 14039757"/>
              <a:gd name="connsiteY3" fmla="*/ 7277122 h 7277122"/>
              <a:gd name="connsiteX4" fmla="*/ 0 w 14039757"/>
              <a:gd name="connsiteY4" fmla="*/ 1316999 h 7277122"/>
              <a:gd name="connsiteX5" fmla="*/ 300442 w 14039757"/>
              <a:gd name="connsiteY5" fmla="*/ 1144249 h 7277122"/>
              <a:gd name="connsiteX6" fmla="*/ 4819416 w 14039757"/>
              <a:gd name="connsiteY6" fmla="*/ 0 h 72771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039757" h="7277122">
                <a:moveTo>
                  <a:pt x="4819416" y="0"/>
                </a:moveTo>
                <a:cubicBezTo>
                  <a:pt x="9237239" y="0"/>
                  <a:pt x="12949299" y="3021775"/>
                  <a:pt x="14001460" y="7111191"/>
                </a:cubicBezTo>
                <a:lnTo>
                  <a:pt x="14039757" y="7277122"/>
                </a:lnTo>
                <a:lnTo>
                  <a:pt x="0" y="7277122"/>
                </a:lnTo>
                <a:lnTo>
                  <a:pt x="0" y="1316999"/>
                </a:lnTo>
                <a:lnTo>
                  <a:pt x="300442" y="1144249"/>
                </a:lnTo>
                <a:cubicBezTo>
                  <a:pt x="1643767" y="414510"/>
                  <a:pt x="3183185" y="0"/>
                  <a:pt x="4819416" y="0"/>
                </a:cubicBezTo>
                <a:close/>
              </a:path>
            </a:pathLst>
          </a:custGeom>
          <a:solidFill>
            <a:schemeClr val="accent6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899"/>
          </a:p>
        </p:txBody>
      </p:sp>
      <p:sp>
        <p:nvSpPr>
          <p:cNvPr id="15" name="Plassholder for bilde 14">
            <a:extLst>
              <a:ext uri="{FF2B5EF4-FFF2-40B4-BE49-F238E27FC236}">
                <a16:creationId xmlns:a16="http://schemas.microsoft.com/office/drawing/2014/main" id="{D709A46D-5815-4D3F-BA66-48BBFF8105C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629913" y="1428929"/>
            <a:ext cx="4937248" cy="493564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385015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tfallende bilde med tittel  (Variant 4)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llipse 23">
            <a:extLst>
              <a:ext uri="{FF2B5EF4-FFF2-40B4-BE49-F238E27FC236}">
                <a16:creationId xmlns:a16="http://schemas.microsoft.com/office/drawing/2014/main" id="{25F115B0-8BEE-4D68-9944-0FC8FFC8078B}"/>
              </a:ext>
            </a:extLst>
          </p:cNvPr>
          <p:cNvSpPr/>
          <p:nvPr/>
        </p:nvSpPr>
        <p:spPr>
          <a:xfrm>
            <a:off x="3629913" y="1428929"/>
            <a:ext cx="4937248" cy="4935641"/>
          </a:xfrm>
          <a:prstGeom prst="ellipse">
            <a:avLst/>
          </a:prstGeom>
          <a:solidFill>
            <a:srgbClr val="554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899"/>
          </a:p>
        </p:txBody>
      </p:sp>
      <p:sp>
        <p:nvSpPr>
          <p:cNvPr id="35" name="Plassholder for bilde 34">
            <a:extLst>
              <a:ext uri="{FF2B5EF4-FFF2-40B4-BE49-F238E27FC236}">
                <a16:creationId xmlns:a16="http://schemas.microsoft.com/office/drawing/2014/main" id="{58E12416-0D89-4638-90ED-D533504B3CB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622" y="0"/>
            <a:ext cx="12193473" cy="6858000"/>
          </a:xfrm>
          <a:custGeom>
            <a:avLst/>
            <a:gdLst>
              <a:gd name="connsiteX0" fmla="*/ 0 w 24379009"/>
              <a:gd name="connsiteY0" fmla="*/ 0 h 13716000"/>
              <a:gd name="connsiteX1" fmla="*/ 20883941 w 24379009"/>
              <a:gd name="connsiteY1" fmla="*/ 0 h 13716000"/>
              <a:gd name="connsiteX2" fmla="*/ 24376429 w 24379009"/>
              <a:gd name="connsiteY2" fmla="*/ 3492488 h 13716000"/>
              <a:gd name="connsiteX3" fmla="*/ 24379009 w 24379009"/>
              <a:gd name="connsiteY3" fmla="*/ 13716000 h 13716000"/>
              <a:gd name="connsiteX4" fmla="*/ 9290409 w 24379009"/>
              <a:gd name="connsiteY4" fmla="*/ 13716000 h 13716000"/>
              <a:gd name="connsiteX5" fmla="*/ 9308801 w 24379009"/>
              <a:gd name="connsiteY5" fmla="*/ 13665749 h 13716000"/>
              <a:gd name="connsiteX6" fmla="*/ 9437284 w 24379009"/>
              <a:gd name="connsiteY6" fmla="*/ 12815910 h 13716000"/>
              <a:gd name="connsiteX7" fmla="*/ 9308801 w 24379009"/>
              <a:gd name="connsiteY7" fmla="*/ 11966071 h 13716000"/>
              <a:gd name="connsiteX8" fmla="*/ 9224835 w 24379009"/>
              <a:gd name="connsiteY8" fmla="*/ 11736659 h 13716000"/>
              <a:gd name="connsiteX9" fmla="*/ 9240032 w 24379009"/>
              <a:gd name="connsiteY9" fmla="*/ 11748601 h 13716000"/>
              <a:gd name="connsiteX10" fmla="*/ 12193104 w 24379009"/>
              <a:gd name="connsiteY10" fmla="*/ 12729138 h 13716000"/>
              <a:gd name="connsiteX11" fmla="*/ 17128745 w 24379009"/>
              <a:gd name="connsiteY11" fmla="*/ 7793497 h 13716000"/>
              <a:gd name="connsiteX12" fmla="*/ 12193104 w 24379009"/>
              <a:gd name="connsiteY12" fmla="*/ 2857856 h 13716000"/>
              <a:gd name="connsiteX13" fmla="*/ 7257466 w 24379009"/>
              <a:gd name="connsiteY13" fmla="*/ 7793497 h 13716000"/>
              <a:gd name="connsiteX14" fmla="*/ 7853171 w 24379009"/>
              <a:gd name="connsiteY14" fmla="*/ 10146116 h 13716000"/>
              <a:gd name="connsiteX15" fmla="*/ 7952453 w 24379009"/>
              <a:gd name="connsiteY15" fmla="*/ 10309542 h 13716000"/>
              <a:gd name="connsiteX16" fmla="*/ 7941655 w 24379009"/>
              <a:gd name="connsiteY16" fmla="*/ 10302981 h 13716000"/>
              <a:gd name="connsiteX17" fmla="*/ 6579430 w 24379009"/>
              <a:gd name="connsiteY17" fmla="*/ 9958053 h 13716000"/>
              <a:gd name="connsiteX18" fmla="*/ 3721572 w 24379009"/>
              <a:gd name="connsiteY18" fmla="*/ 12815910 h 13716000"/>
              <a:gd name="connsiteX19" fmla="*/ 3850055 w 24379009"/>
              <a:gd name="connsiteY19" fmla="*/ 13665749 h 13716000"/>
              <a:gd name="connsiteX20" fmla="*/ 3868448 w 24379009"/>
              <a:gd name="connsiteY20" fmla="*/ 13716000 h 13716000"/>
              <a:gd name="connsiteX21" fmla="*/ 0 w 24379009"/>
              <a:gd name="connsiteY21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4379009" h="13716000">
                <a:moveTo>
                  <a:pt x="0" y="0"/>
                </a:moveTo>
                <a:lnTo>
                  <a:pt x="20883941" y="0"/>
                </a:lnTo>
                <a:cubicBezTo>
                  <a:pt x="20883941" y="1928870"/>
                  <a:pt x="22447561" y="3492488"/>
                  <a:pt x="24376429" y="3492488"/>
                </a:cubicBezTo>
                <a:cubicBezTo>
                  <a:pt x="24377289" y="6900325"/>
                  <a:pt x="24378149" y="10308163"/>
                  <a:pt x="24379009" y="13716000"/>
                </a:cubicBezTo>
                <a:lnTo>
                  <a:pt x="9290409" y="13716000"/>
                </a:lnTo>
                <a:lnTo>
                  <a:pt x="9308801" y="13665749"/>
                </a:lnTo>
                <a:cubicBezTo>
                  <a:pt x="9392302" y="13397285"/>
                  <a:pt x="9437284" y="13111851"/>
                  <a:pt x="9437284" y="12815910"/>
                </a:cubicBezTo>
                <a:cubicBezTo>
                  <a:pt x="9437284" y="12519969"/>
                  <a:pt x="9392302" y="12234535"/>
                  <a:pt x="9308801" y="11966071"/>
                </a:cubicBezTo>
                <a:lnTo>
                  <a:pt x="9224835" y="11736659"/>
                </a:lnTo>
                <a:lnTo>
                  <a:pt x="9240032" y="11748601"/>
                </a:lnTo>
                <a:cubicBezTo>
                  <a:pt x="10063507" y="12364441"/>
                  <a:pt x="11085716" y="12729138"/>
                  <a:pt x="12193104" y="12729138"/>
                </a:cubicBezTo>
                <a:cubicBezTo>
                  <a:pt x="14918983" y="12729138"/>
                  <a:pt x="17128745" y="10519376"/>
                  <a:pt x="17128745" y="7793497"/>
                </a:cubicBezTo>
                <a:cubicBezTo>
                  <a:pt x="17128745" y="5067618"/>
                  <a:pt x="14918983" y="2857856"/>
                  <a:pt x="12193104" y="2857856"/>
                </a:cubicBezTo>
                <a:cubicBezTo>
                  <a:pt x="9467225" y="2857856"/>
                  <a:pt x="7257466" y="5067618"/>
                  <a:pt x="7257466" y="7793497"/>
                </a:cubicBezTo>
                <a:cubicBezTo>
                  <a:pt x="7257466" y="8645334"/>
                  <a:pt x="7473261" y="9446769"/>
                  <a:pt x="7853171" y="10146116"/>
                </a:cubicBezTo>
                <a:lnTo>
                  <a:pt x="7952453" y="10309542"/>
                </a:lnTo>
                <a:lnTo>
                  <a:pt x="7941655" y="10302981"/>
                </a:lnTo>
                <a:cubicBezTo>
                  <a:pt x="7536716" y="10083005"/>
                  <a:pt x="7072664" y="9958053"/>
                  <a:pt x="6579430" y="9958053"/>
                </a:cubicBezTo>
                <a:cubicBezTo>
                  <a:pt x="5001079" y="9958053"/>
                  <a:pt x="3721572" y="11237559"/>
                  <a:pt x="3721572" y="12815910"/>
                </a:cubicBezTo>
                <a:cubicBezTo>
                  <a:pt x="3721572" y="13111851"/>
                  <a:pt x="3766555" y="13397285"/>
                  <a:pt x="3850055" y="13665749"/>
                </a:cubicBezTo>
                <a:lnTo>
                  <a:pt x="3868448" y="13716000"/>
                </a:lnTo>
                <a:lnTo>
                  <a:pt x="0" y="13716000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 lIns="0" tIns="0" rIns="0" bIns="0">
            <a:noAutofit/>
          </a:bodyPr>
          <a:lstStyle>
            <a:lvl1pPr>
              <a:defRPr/>
            </a:lvl1pPr>
          </a:lstStyle>
          <a:p>
            <a:r>
              <a:rPr lang="en-GB"/>
              <a:t>Sett inn </a:t>
            </a:r>
            <a:r>
              <a:rPr lang="en-GB" err="1"/>
              <a:t>bilde</a:t>
            </a:r>
            <a:r>
              <a:rPr lang="en-GB"/>
              <a:t> via “Sett inn” -&gt; “Bilde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29913" y="1428929"/>
            <a:ext cx="4937248" cy="4935641"/>
          </a:xfrm>
          <a:prstGeom prst="ellipse">
            <a:avLst/>
          </a:prstGeom>
          <a:noFill/>
        </p:spPr>
        <p:txBody>
          <a:bodyPr lIns="0" tIns="0" rIns="0" bIns="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3129ECF1-F0D3-4CD8-9C78-0C81B2D5F5E5}" type="datetimeFigureOut">
              <a:rPr lang="nb-NO" smtClean="0"/>
              <a:t>06.06.2024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4409EF66-46AA-4080-844D-5B92F1A6B3C3}" type="slidenum">
              <a:rPr lang="nb-NO" smtClean="0"/>
              <a:t>‹#›</a:t>
            </a:fld>
            <a:endParaRPr lang="nb-NO"/>
          </a:p>
        </p:txBody>
      </p:sp>
      <p:sp>
        <p:nvSpPr>
          <p:cNvPr id="31" name="Plassholder for tekst 29">
            <a:extLst>
              <a:ext uri="{FF2B5EF4-FFF2-40B4-BE49-F238E27FC236}">
                <a16:creationId xmlns:a16="http://schemas.microsoft.com/office/drawing/2014/main" id="{54FE5D8A-CDA7-45DD-9B27-02A834C31FFD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11682248" y="6096768"/>
            <a:ext cx="509753" cy="50958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  <p:sp>
        <p:nvSpPr>
          <p:cNvPr id="36" name="Plassholder for tekst 29">
            <a:extLst>
              <a:ext uri="{FF2B5EF4-FFF2-40B4-BE49-F238E27FC236}">
                <a16:creationId xmlns:a16="http://schemas.microsoft.com/office/drawing/2014/main" id="{AFA1220D-1696-435F-9FE2-43D4D7829CE9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11320411" y="6230098"/>
            <a:ext cx="12606" cy="24123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54203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>
            <a:extLst>
              <a:ext uri="{FF2B5EF4-FFF2-40B4-BE49-F238E27FC236}">
                <a16:creationId xmlns:a16="http://schemas.microsoft.com/office/drawing/2014/main" id="{C1D0A842-8C3B-4CBD-BFD4-6599C0CB1E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16"/>
            <a:ext cx="12192000" cy="685576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90399" y="2800987"/>
            <a:ext cx="7611205" cy="1286506"/>
          </a:xfrm>
        </p:spPr>
        <p:txBody>
          <a:bodyPr wrap="square" lIns="0" tIns="0" rIns="0" bIns="0" anchor="ctr">
            <a:noAutofit/>
          </a:bodyPr>
          <a:lstStyle>
            <a:lvl1pPr algn="ctr">
              <a:lnSpc>
                <a:spcPct val="95000"/>
              </a:lnSpc>
              <a:defRPr sz="4399" b="1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0" y="-98182"/>
            <a:ext cx="2743200" cy="1538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100"/>
            </a:lvl1pPr>
          </a:lstStyle>
          <a:p>
            <a:fld id="{3129ECF1-F0D3-4CD8-9C78-0C81B2D5F5E5}" type="datetimeFigureOut">
              <a:rPr lang="nb-NO" smtClean="0"/>
              <a:t>06.06.2024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00400" y="-98182"/>
            <a:ext cx="4114800" cy="15389"/>
          </a:xfrm>
        </p:spPr>
        <p:txBody>
          <a:bodyPr lIns="0" tIns="0" rIns="0" bIns="0">
            <a:spAutoFit/>
          </a:bodyPr>
          <a:lstStyle>
            <a:lvl1pPr>
              <a:defRPr sz="100"/>
            </a:lvl1pPr>
          </a:lstStyle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772400" y="-98182"/>
            <a:ext cx="2743200" cy="15389"/>
          </a:xfrm>
        </p:spPr>
        <p:txBody>
          <a:bodyPr lIns="0" tIns="0" rIns="0" bIns="0">
            <a:spAutoFit/>
          </a:bodyPr>
          <a:lstStyle>
            <a:lvl1pPr>
              <a:defRPr sz="100"/>
            </a:lvl1pPr>
          </a:lstStyle>
          <a:p>
            <a:fld id="{4409EF66-46AA-4080-844D-5B92F1A6B3C3}" type="slidenum">
              <a:rPr lang="nb-NO" smtClean="0"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2140CC8D-0496-4406-ABD1-3C8CD45E226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08225" y="508060"/>
            <a:ext cx="2052668" cy="768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11140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 og bilde høyre  (Variant 4)">
    <p:bg>
      <p:bgPr>
        <a:solidFill>
          <a:srgbClr val="554C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ihåndsform: figur 17">
            <a:extLst>
              <a:ext uri="{FF2B5EF4-FFF2-40B4-BE49-F238E27FC236}">
                <a16:creationId xmlns:a16="http://schemas.microsoft.com/office/drawing/2014/main" id="{BB19A6C7-78C4-450C-8F12-BC74CFD6DFBE}"/>
              </a:ext>
            </a:extLst>
          </p:cNvPr>
          <p:cNvSpPr/>
          <p:nvPr/>
        </p:nvSpPr>
        <p:spPr>
          <a:xfrm>
            <a:off x="5173985" y="2"/>
            <a:ext cx="7018017" cy="3638869"/>
          </a:xfrm>
          <a:custGeom>
            <a:avLst/>
            <a:gdLst>
              <a:gd name="connsiteX0" fmla="*/ 0 w 14031465"/>
              <a:gd name="connsiteY0" fmla="*/ 0 h 7277737"/>
              <a:gd name="connsiteX1" fmla="*/ 14031465 w 14031465"/>
              <a:gd name="connsiteY1" fmla="*/ 0 h 7277737"/>
              <a:gd name="connsiteX2" fmla="*/ 14031465 w 14031465"/>
              <a:gd name="connsiteY2" fmla="*/ 5966641 h 7277737"/>
              <a:gd name="connsiteX3" fmla="*/ 13790543 w 14031465"/>
              <a:gd name="connsiteY3" fmla="*/ 6105898 h 7277737"/>
              <a:gd name="connsiteX4" fmla="*/ 9220983 w 14031465"/>
              <a:gd name="connsiteY4" fmla="*/ 7277737 h 7277737"/>
              <a:gd name="connsiteX5" fmla="*/ 38329 w 14031465"/>
              <a:gd name="connsiteY5" fmla="*/ 166074 h 727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031465" h="7277737">
                <a:moveTo>
                  <a:pt x="0" y="0"/>
                </a:moveTo>
                <a:lnTo>
                  <a:pt x="14031465" y="0"/>
                </a:lnTo>
                <a:lnTo>
                  <a:pt x="14031465" y="5966641"/>
                </a:lnTo>
                <a:lnTo>
                  <a:pt x="13790543" y="6105898"/>
                </a:lnTo>
                <a:cubicBezTo>
                  <a:pt x="12435315" y="6852772"/>
                  <a:pt x="10877777" y="7277737"/>
                  <a:pt x="9220983" y="7277737"/>
                </a:cubicBezTo>
                <a:cubicBezTo>
                  <a:pt x="4802867" y="7277737"/>
                  <a:pt x="1090560" y="4255761"/>
                  <a:pt x="38329" y="166074"/>
                </a:cubicBezTo>
                <a:close/>
              </a:path>
            </a:pathLst>
          </a:custGeom>
          <a:solidFill>
            <a:schemeClr val="accent6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899"/>
          </a:p>
        </p:txBody>
      </p:sp>
      <p:sp>
        <p:nvSpPr>
          <p:cNvPr id="21" name="Plassholder for bilde 20">
            <a:extLst>
              <a:ext uri="{FF2B5EF4-FFF2-40B4-BE49-F238E27FC236}">
                <a16:creationId xmlns:a16="http://schemas.microsoft.com/office/drawing/2014/main" id="{C88DF1A1-BDE6-40B9-BC88-1B0F743215D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46248" y="0"/>
            <a:ext cx="5845752" cy="6858000"/>
          </a:xfrm>
          <a:custGeom>
            <a:avLst/>
            <a:gdLst>
              <a:gd name="connsiteX0" fmla="*/ 4997975 w 11687699"/>
              <a:gd name="connsiteY0" fmla="*/ 0 h 13716000"/>
              <a:gd name="connsiteX1" fmla="*/ 9401699 w 11687699"/>
              <a:gd name="connsiteY1" fmla="*/ 0 h 13716000"/>
              <a:gd name="connsiteX2" fmla="*/ 11687699 w 11687699"/>
              <a:gd name="connsiteY2" fmla="*/ 1226312 h 13716000"/>
              <a:gd name="connsiteX3" fmla="*/ 11687699 w 11687699"/>
              <a:gd name="connsiteY3" fmla="*/ 12489688 h 13716000"/>
              <a:gd name="connsiteX4" fmla="*/ 9401699 w 11687699"/>
              <a:gd name="connsiteY4" fmla="*/ 13716000 h 13716000"/>
              <a:gd name="connsiteX5" fmla="*/ 4997847 w 11687699"/>
              <a:gd name="connsiteY5" fmla="*/ 13716000 h 13716000"/>
              <a:gd name="connsiteX6" fmla="*/ 5110 w 11687699"/>
              <a:gd name="connsiteY6" fmla="*/ 7157360 h 13716000"/>
              <a:gd name="connsiteX7" fmla="*/ 0 w 11687699"/>
              <a:gd name="connsiteY7" fmla="*/ 6906997 h 13716000"/>
              <a:gd name="connsiteX8" fmla="*/ 0 w 11687699"/>
              <a:gd name="connsiteY8" fmla="*/ 6809003 h 13716000"/>
              <a:gd name="connsiteX9" fmla="*/ 5110 w 11687699"/>
              <a:gd name="connsiteY9" fmla="*/ 6558641 h 13716000"/>
              <a:gd name="connsiteX10" fmla="*/ 4997975 w 11687699"/>
              <a:gd name="connsiteY10" fmla="*/ 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687699" h="13716000">
                <a:moveTo>
                  <a:pt x="4997975" y="0"/>
                </a:moveTo>
                <a:lnTo>
                  <a:pt x="9401699" y="0"/>
                </a:lnTo>
                <a:cubicBezTo>
                  <a:pt x="10231771" y="266706"/>
                  <a:pt x="11006345" y="682247"/>
                  <a:pt x="11687699" y="1226312"/>
                </a:cubicBezTo>
                <a:lnTo>
                  <a:pt x="11687699" y="12489688"/>
                </a:lnTo>
                <a:cubicBezTo>
                  <a:pt x="11006345" y="13033756"/>
                  <a:pt x="10231771" y="13449300"/>
                  <a:pt x="9401699" y="13716000"/>
                </a:cubicBezTo>
                <a:lnTo>
                  <a:pt x="4997847" y="13716000"/>
                </a:lnTo>
                <a:cubicBezTo>
                  <a:pt x="2188676" y="12814673"/>
                  <a:pt x="130973" y="10235081"/>
                  <a:pt x="5110" y="7157360"/>
                </a:cubicBezTo>
                <a:lnTo>
                  <a:pt x="0" y="6906997"/>
                </a:lnTo>
                <a:lnTo>
                  <a:pt x="0" y="6809003"/>
                </a:lnTo>
                <a:lnTo>
                  <a:pt x="5110" y="6558641"/>
                </a:lnTo>
                <a:cubicBezTo>
                  <a:pt x="130973" y="3480920"/>
                  <a:pt x="2188680" y="901327"/>
                  <a:pt x="4997975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225" y="2377415"/>
            <a:ext cx="5335677" cy="1828193"/>
          </a:xfrm>
        </p:spPr>
        <p:txBody>
          <a:bodyPr wrap="square" lIns="0" tIns="0" rIns="0" bIns="0">
            <a:noAutofit/>
          </a:bodyPr>
          <a:lstStyle>
            <a:lvl1pPr>
              <a:defRPr sz="4399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3129ECF1-F0D3-4CD8-9C78-0C81B2D5F5E5}" type="datetimeFigureOut">
              <a:rPr lang="nb-NO" smtClean="0"/>
              <a:t>06.06.2024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4409EF66-46AA-4080-844D-5B92F1A6B3C3}" type="slidenum">
              <a:rPr lang="nb-NO" smtClean="0"/>
              <a:t>‹#›</a:t>
            </a:fld>
            <a:endParaRPr lang="nb-NO"/>
          </a:p>
        </p:txBody>
      </p:sp>
      <p:sp>
        <p:nvSpPr>
          <p:cNvPr id="11" name="Frihåndsform: figur 10">
            <a:extLst>
              <a:ext uri="{FF2B5EF4-FFF2-40B4-BE49-F238E27FC236}">
                <a16:creationId xmlns:a16="http://schemas.microsoft.com/office/drawing/2014/main" id="{9D0BA09F-1AB7-4820-AAF4-357B04379CF2}"/>
              </a:ext>
            </a:extLst>
          </p:cNvPr>
          <p:cNvSpPr/>
          <p:nvPr/>
        </p:nvSpPr>
        <p:spPr>
          <a:xfrm>
            <a:off x="1" y="5111640"/>
            <a:ext cx="1746929" cy="1746360"/>
          </a:xfrm>
          <a:custGeom>
            <a:avLst/>
            <a:gdLst>
              <a:gd name="connsiteX0" fmla="*/ 3492720 w 3492720"/>
              <a:gd name="connsiteY0" fmla="*/ 3493640 h 3492720"/>
              <a:gd name="connsiteX1" fmla="*/ 0 w 3492720"/>
              <a:gd name="connsiteY1" fmla="*/ 920 h 3492720"/>
              <a:gd name="connsiteX2" fmla="*/ 0 w 3492720"/>
              <a:gd name="connsiteY2" fmla="*/ 3493640 h 349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2720" h="3492720">
                <a:moveTo>
                  <a:pt x="3492720" y="3493640"/>
                </a:moveTo>
                <a:cubicBezTo>
                  <a:pt x="3492720" y="1564642"/>
                  <a:pt x="1928998" y="920"/>
                  <a:pt x="0" y="920"/>
                </a:cubicBezTo>
                <a:lnTo>
                  <a:pt x="0" y="3493640"/>
                </a:lnTo>
                <a:close/>
              </a:path>
            </a:pathLst>
          </a:custGeom>
          <a:solidFill>
            <a:schemeClr val="accent6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899"/>
          </a:p>
        </p:txBody>
      </p:sp>
      <p:sp>
        <p:nvSpPr>
          <p:cNvPr id="22" name="Plassholder for tekst 29">
            <a:extLst>
              <a:ext uri="{FF2B5EF4-FFF2-40B4-BE49-F238E27FC236}">
                <a16:creationId xmlns:a16="http://schemas.microsoft.com/office/drawing/2014/main" id="{467C46CA-B925-4F9D-9892-3BE03A88CE0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11682248" y="6096768"/>
            <a:ext cx="509753" cy="50958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  <p:sp>
        <p:nvSpPr>
          <p:cNvPr id="26" name="Plassholder for tekst 29">
            <a:extLst>
              <a:ext uri="{FF2B5EF4-FFF2-40B4-BE49-F238E27FC236}">
                <a16:creationId xmlns:a16="http://schemas.microsoft.com/office/drawing/2014/main" id="{9C07BABA-FE02-49A3-8612-5A4D1589C4C0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11320411" y="6230098"/>
            <a:ext cx="12606" cy="24123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4076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 og bilde høyre #2  (Variant 4)">
    <p:bg>
      <p:bgPr>
        <a:solidFill>
          <a:srgbClr val="554C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ihåndsform: figur 17">
            <a:extLst>
              <a:ext uri="{FF2B5EF4-FFF2-40B4-BE49-F238E27FC236}">
                <a16:creationId xmlns:a16="http://schemas.microsoft.com/office/drawing/2014/main" id="{BB19A6C7-78C4-450C-8F12-BC74CFD6DFBE}"/>
              </a:ext>
            </a:extLst>
          </p:cNvPr>
          <p:cNvSpPr/>
          <p:nvPr/>
        </p:nvSpPr>
        <p:spPr>
          <a:xfrm>
            <a:off x="5173985" y="2"/>
            <a:ext cx="7018017" cy="3638869"/>
          </a:xfrm>
          <a:custGeom>
            <a:avLst/>
            <a:gdLst>
              <a:gd name="connsiteX0" fmla="*/ 0 w 14031465"/>
              <a:gd name="connsiteY0" fmla="*/ 0 h 7277737"/>
              <a:gd name="connsiteX1" fmla="*/ 14031465 w 14031465"/>
              <a:gd name="connsiteY1" fmla="*/ 0 h 7277737"/>
              <a:gd name="connsiteX2" fmla="*/ 14031465 w 14031465"/>
              <a:gd name="connsiteY2" fmla="*/ 5966641 h 7277737"/>
              <a:gd name="connsiteX3" fmla="*/ 13790543 w 14031465"/>
              <a:gd name="connsiteY3" fmla="*/ 6105898 h 7277737"/>
              <a:gd name="connsiteX4" fmla="*/ 9220983 w 14031465"/>
              <a:gd name="connsiteY4" fmla="*/ 7277737 h 7277737"/>
              <a:gd name="connsiteX5" fmla="*/ 38329 w 14031465"/>
              <a:gd name="connsiteY5" fmla="*/ 166074 h 727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031465" h="7277737">
                <a:moveTo>
                  <a:pt x="0" y="0"/>
                </a:moveTo>
                <a:lnTo>
                  <a:pt x="14031465" y="0"/>
                </a:lnTo>
                <a:lnTo>
                  <a:pt x="14031465" y="5966641"/>
                </a:lnTo>
                <a:lnTo>
                  <a:pt x="13790543" y="6105898"/>
                </a:lnTo>
                <a:cubicBezTo>
                  <a:pt x="12435315" y="6852772"/>
                  <a:pt x="10877777" y="7277737"/>
                  <a:pt x="9220983" y="7277737"/>
                </a:cubicBezTo>
                <a:cubicBezTo>
                  <a:pt x="4802867" y="7277737"/>
                  <a:pt x="1090560" y="4255761"/>
                  <a:pt x="38329" y="166074"/>
                </a:cubicBezTo>
                <a:close/>
              </a:path>
            </a:pathLst>
          </a:custGeom>
          <a:solidFill>
            <a:schemeClr val="accent6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899"/>
          </a:p>
        </p:txBody>
      </p:sp>
      <p:sp>
        <p:nvSpPr>
          <p:cNvPr id="14" name="Plassholder for bilde 10">
            <a:extLst>
              <a:ext uri="{FF2B5EF4-FFF2-40B4-BE49-F238E27FC236}">
                <a16:creationId xmlns:a16="http://schemas.microsoft.com/office/drawing/2014/main" id="{3F7E708B-D066-4A8C-A430-D0A7FD91CC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4040" y="253571"/>
            <a:ext cx="5527799" cy="6351724"/>
          </a:xfrm>
          <a:prstGeom prst="roundRect">
            <a:avLst>
              <a:gd name="adj" fmla="val 2388"/>
            </a:avLst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225" y="2377415"/>
            <a:ext cx="5335677" cy="1828193"/>
          </a:xfrm>
        </p:spPr>
        <p:txBody>
          <a:bodyPr wrap="square" lIns="0" tIns="0" rIns="0" bIns="0">
            <a:noAutofit/>
          </a:bodyPr>
          <a:lstStyle>
            <a:lvl1pPr>
              <a:defRPr sz="4399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3129ECF1-F0D3-4CD8-9C78-0C81B2D5F5E5}" type="datetimeFigureOut">
              <a:rPr lang="nb-NO" smtClean="0"/>
              <a:t>06.06.2024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4409EF66-46AA-4080-844D-5B92F1A6B3C3}" type="slidenum">
              <a:rPr lang="nb-NO" smtClean="0"/>
              <a:t>‹#›</a:t>
            </a:fld>
            <a:endParaRPr lang="nb-NO"/>
          </a:p>
        </p:txBody>
      </p:sp>
      <p:sp>
        <p:nvSpPr>
          <p:cNvPr id="11" name="Frihåndsform: figur 10">
            <a:extLst>
              <a:ext uri="{FF2B5EF4-FFF2-40B4-BE49-F238E27FC236}">
                <a16:creationId xmlns:a16="http://schemas.microsoft.com/office/drawing/2014/main" id="{9D0BA09F-1AB7-4820-AAF4-357B04379CF2}"/>
              </a:ext>
            </a:extLst>
          </p:cNvPr>
          <p:cNvSpPr/>
          <p:nvPr/>
        </p:nvSpPr>
        <p:spPr>
          <a:xfrm>
            <a:off x="1" y="5111640"/>
            <a:ext cx="1746929" cy="1746360"/>
          </a:xfrm>
          <a:custGeom>
            <a:avLst/>
            <a:gdLst>
              <a:gd name="connsiteX0" fmla="*/ 3492720 w 3492720"/>
              <a:gd name="connsiteY0" fmla="*/ 3493640 h 3492720"/>
              <a:gd name="connsiteX1" fmla="*/ 0 w 3492720"/>
              <a:gd name="connsiteY1" fmla="*/ 920 h 3492720"/>
              <a:gd name="connsiteX2" fmla="*/ 0 w 3492720"/>
              <a:gd name="connsiteY2" fmla="*/ 3493640 h 349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2720" h="3492720">
                <a:moveTo>
                  <a:pt x="3492720" y="3493640"/>
                </a:moveTo>
                <a:cubicBezTo>
                  <a:pt x="3492720" y="1564642"/>
                  <a:pt x="1928998" y="920"/>
                  <a:pt x="0" y="920"/>
                </a:cubicBezTo>
                <a:lnTo>
                  <a:pt x="0" y="3493640"/>
                </a:lnTo>
                <a:close/>
              </a:path>
            </a:pathLst>
          </a:custGeom>
          <a:solidFill>
            <a:schemeClr val="accent6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899"/>
          </a:p>
        </p:txBody>
      </p:sp>
      <p:sp>
        <p:nvSpPr>
          <p:cNvPr id="22" name="Plassholder for tekst 29">
            <a:extLst>
              <a:ext uri="{FF2B5EF4-FFF2-40B4-BE49-F238E27FC236}">
                <a16:creationId xmlns:a16="http://schemas.microsoft.com/office/drawing/2014/main" id="{467C46CA-B925-4F9D-9892-3BE03A88CE0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11682248" y="6096768"/>
            <a:ext cx="509753" cy="50958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  <p:sp>
        <p:nvSpPr>
          <p:cNvPr id="26" name="Plassholder for tekst 29">
            <a:extLst>
              <a:ext uri="{FF2B5EF4-FFF2-40B4-BE49-F238E27FC236}">
                <a16:creationId xmlns:a16="http://schemas.microsoft.com/office/drawing/2014/main" id="{9C07BABA-FE02-49A3-8612-5A4D1589C4C0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11320411" y="6230098"/>
            <a:ext cx="12606" cy="24123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39210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vslutning med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bilde 10">
            <a:extLst>
              <a:ext uri="{FF2B5EF4-FFF2-40B4-BE49-F238E27FC236}">
                <a16:creationId xmlns:a16="http://schemas.microsoft.com/office/drawing/2014/main" id="{3F7E708B-D066-4A8C-A430-D0A7FD91CC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3292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225" y="2377415"/>
            <a:ext cx="5335677" cy="1828193"/>
          </a:xfrm>
        </p:spPr>
        <p:txBody>
          <a:bodyPr wrap="square" lIns="0" tIns="0" rIns="0" bIns="0">
            <a:noAutofit/>
          </a:bodyPr>
          <a:lstStyle>
            <a:lvl1pPr>
              <a:defRPr sz="4399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3129ECF1-F0D3-4CD8-9C78-0C81B2D5F5E5}" type="datetimeFigureOut">
              <a:rPr lang="nb-NO" smtClean="0"/>
              <a:t>06.06.2024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4409EF66-46AA-4080-844D-5B92F1A6B3C3}" type="slidenum">
              <a:rPr lang="nb-NO" smtClean="0"/>
              <a:t>‹#›</a:t>
            </a:fld>
            <a:endParaRPr lang="nb-NO"/>
          </a:p>
        </p:txBody>
      </p:sp>
      <p:sp>
        <p:nvSpPr>
          <p:cNvPr id="22" name="Plassholder for tekst 29">
            <a:extLst>
              <a:ext uri="{FF2B5EF4-FFF2-40B4-BE49-F238E27FC236}">
                <a16:creationId xmlns:a16="http://schemas.microsoft.com/office/drawing/2014/main" id="{467C46CA-B925-4F9D-9892-3BE03A88CE0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11682248" y="6096768"/>
            <a:ext cx="509753" cy="50958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  <p:sp>
        <p:nvSpPr>
          <p:cNvPr id="26" name="Plassholder for tekst 29">
            <a:extLst>
              <a:ext uri="{FF2B5EF4-FFF2-40B4-BE49-F238E27FC236}">
                <a16:creationId xmlns:a16="http://schemas.microsoft.com/office/drawing/2014/main" id="{9C07BABA-FE02-49A3-8612-5A4D1589C4C0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11320411" y="6230098"/>
            <a:ext cx="12606" cy="24123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863796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vslutning me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media 5">
            <a:extLst>
              <a:ext uri="{FF2B5EF4-FFF2-40B4-BE49-F238E27FC236}">
                <a16:creationId xmlns:a16="http://schemas.microsoft.com/office/drawing/2014/main" id="{A2B6FA41-C14D-41AA-AB30-6487DB3FA852}"/>
              </a:ext>
            </a:extLst>
          </p:cNvPr>
          <p:cNvSpPr>
            <a:spLocks noGrp="1"/>
          </p:cNvSpPr>
          <p:nvPr>
            <p:ph type="media" sz="quarter" idx="17"/>
          </p:nvPr>
        </p:nvSpPr>
        <p:spPr>
          <a:xfrm>
            <a:off x="-1" y="-1"/>
            <a:ext cx="12193293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lIns="0" tIns="0" rIns="0" bIns="0"/>
          <a:lstStyle/>
          <a:p>
            <a:r>
              <a:rPr lang="nb-NO"/>
              <a:t>Klikk ikonet for å legge til media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225" y="2377415"/>
            <a:ext cx="5335677" cy="1828193"/>
          </a:xfrm>
        </p:spPr>
        <p:txBody>
          <a:bodyPr wrap="square" lIns="0" tIns="0" rIns="0" bIns="0">
            <a:noAutofit/>
          </a:bodyPr>
          <a:lstStyle>
            <a:lvl1pPr>
              <a:defRPr sz="4399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3129ECF1-F0D3-4CD8-9C78-0C81B2D5F5E5}" type="datetimeFigureOut">
              <a:rPr lang="nb-NO" smtClean="0"/>
              <a:t>06.06.2024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4409EF66-46AA-4080-844D-5B92F1A6B3C3}" type="slidenum">
              <a:rPr lang="nb-NO" smtClean="0"/>
              <a:t>‹#›</a:t>
            </a:fld>
            <a:endParaRPr lang="nb-NO"/>
          </a:p>
        </p:txBody>
      </p:sp>
      <p:sp>
        <p:nvSpPr>
          <p:cNvPr id="22" name="Plassholder for tekst 29">
            <a:extLst>
              <a:ext uri="{FF2B5EF4-FFF2-40B4-BE49-F238E27FC236}">
                <a16:creationId xmlns:a16="http://schemas.microsoft.com/office/drawing/2014/main" id="{467C46CA-B925-4F9D-9892-3BE03A88CE0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11682248" y="6096768"/>
            <a:ext cx="509753" cy="50958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  <p:sp>
        <p:nvSpPr>
          <p:cNvPr id="26" name="Plassholder for tekst 29">
            <a:extLst>
              <a:ext uri="{FF2B5EF4-FFF2-40B4-BE49-F238E27FC236}">
                <a16:creationId xmlns:a16="http://schemas.microsoft.com/office/drawing/2014/main" id="{9C07BABA-FE02-49A3-8612-5A4D1589C4C0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11320411" y="6230098"/>
            <a:ext cx="12606" cy="24123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35508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18"/>
          <p:cNvSpPr txBox="1">
            <a:spLocks noGrp="1"/>
          </p:cNvSpPr>
          <p:nvPr>
            <p:ph type="title"/>
          </p:nvPr>
        </p:nvSpPr>
        <p:spPr>
          <a:xfrm>
            <a:off x="442913" y="432001"/>
            <a:ext cx="11306000" cy="13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  <a:defRPr sz="3199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9pPr>
          </a:lstStyle>
          <a:p>
            <a:r>
              <a:rPr lang="nb-NO"/>
              <a:t>Klikk for å redigere tittelstil</a:t>
            </a:r>
            <a:endParaRPr/>
          </a:p>
        </p:txBody>
      </p:sp>
      <p:sp>
        <p:nvSpPr>
          <p:cNvPr id="115" name="Google Shape;115;p18"/>
          <p:cNvSpPr txBox="1">
            <a:spLocks noGrp="1"/>
          </p:cNvSpPr>
          <p:nvPr>
            <p:ph type="sldNum" idx="12"/>
          </p:nvPr>
        </p:nvSpPr>
        <p:spPr>
          <a:xfrm>
            <a:off x="8218489" y="6492240"/>
            <a:ext cx="3530800" cy="13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4409EF66-46AA-4080-844D-5B92F1A6B3C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3150916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BE2BC85-C285-98F7-7540-EC36AA4D9AF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CAC6B585-F5C8-6519-B012-605EAEC743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AFBC88E7-7D8D-8718-3E32-DAE1DF18D5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29ECF1-F0D3-4CD8-9C78-0C81B2D5F5E5}" type="datetimeFigureOut">
              <a:rPr lang="nb-NO" smtClean="0"/>
              <a:t>06.06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DDC8BA65-648E-B7DE-16EA-1743C31970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A3E6132A-228D-B711-7A4E-580F8ED6E4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09EF66-46AA-4080-844D-5B92F1A6B3C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1414704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: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 anchor="b" anchorCtr="0">
            <a:noAutofit/>
          </a:bodyPr>
          <a:lstStyle>
            <a:lvl1pPr algn="l">
              <a:defRPr sz="3200">
                <a:solidFill>
                  <a:srgbClr val="00357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4"/>
          </a:xfrm>
        </p:spPr>
        <p:txBody>
          <a:bodyPr>
            <a:noAutofit/>
          </a:bodyPr>
          <a:lstStyle>
            <a:lvl1pPr marL="268811" indent="-268811">
              <a:lnSpc>
                <a:spcPts val="2667"/>
              </a:lnSpc>
              <a:buClr>
                <a:srgbClr val="BBA600"/>
              </a:buClr>
              <a:buFont typeface="Wingdings" panose="05000000000000000000" pitchFamily="2" charset="2"/>
              <a:buChar char="§"/>
              <a:defRPr sz="2133" b="0" i="0" cap="none" baseline="0"/>
            </a:lvl1pPr>
            <a:lvl2pPr marL="557986" indent="-269993">
              <a:lnSpc>
                <a:spcPts val="2667"/>
              </a:lnSpc>
              <a:buClr>
                <a:srgbClr val="BBA600"/>
              </a:buClr>
              <a:buFont typeface="Wingdings" panose="05000000000000000000" pitchFamily="2" charset="2"/>
              <a:buChar char="§"/>
              <a:defRPr sz="2133" b="0" baseline="0"/>
            </a:lvl2pPr>
            <a:lvl3pPr marL="845979" indent="-304792">
              <a:lnSpc>
                <a:spcPts val="2667"/>
              </a:lnSpc>
              <a:buClr>
                <a:srgbClr val="BBA600"/>
              </a:buClr>
              <a:buFont typeface="Wingdings" panose="05000000000000000000" pitchFamily="2" charset="2"/>
              <a:buChar char="§"/>
              <a:defRPr sz="2133"/>
            </a:lvl3pPr>
            <a:lvl4pPr marL="1133972" indent="-304792">
              <a:lnSpc>
                <a:spcPts val="2667"/>
              </a:lnSpc>
              <a:buClr>
                <a:srgbClr val="BBA600"/>
              </a:buClr>
              <a:buFont typeface="Wingdings" panose="05000000000000000000" pitchFamily="2" charset="2"/>
              <a:buChar char="§"/>
              <a:defRPr sz="2133"/>
            </a:lvl4pPr>
            <a:lvl5pPr marL="1439964" indent="-304792">
              <a:lnSpc>
                <a:spcPts val="2667"/>
              </a:lnSpc>
              <a:buClr>
                <a:srgbClr val="BBA600"/>
              </a:buClr>
              <a:buFont typeface="Wingdings" panose="05000000000000000000" pitchFamily="2" charset="2"/>
              <a:buChar char="§"/>
              <a:defRPr sz="2133"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n-NO"/>
          </a:p>
        </p:txBody>
      </p:sp>
      <p:sp>
        <p:nvSpPr>
          <p:cNvPr id="10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23395" y="6281377"/>
            <a:ext cx="997087" cy="276999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fld id="{CF3235BE-8458-9D4D-9DCD-C1817817BD96}" type="slidenum">
              <a:rPr lang="nn-NO"/>
              <a:pPr/>
              <a:t>‹#›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2920237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 innholdsdeler grøn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2198" y="261706"/>
            <a:ext cx="3710665" cy="6349891"/>
          </a:xfrm>
          <a:prstGeom prst="roundRect">
            <a:avLst>
              <a:gd name="adj" fmla="val 3938"/>
            </a:avLst>
          </a:prstGeom>
          <a:solidFill>
            <a:schemeClr val="bg2"/>
          </a:solidFill>
        </p:spPr>
        <p:txBody>
          <a:bodyPr lIns="810000" tIns="810000" rIns="810000" bIns="810000" anchor="ctr">
            <a:noAutofit/>
          </a:bodyPr>
          <a:lstStyle>
            <a:lvl1pPr algn="ctr">
              <a:defRPr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42D27550-46F9-1845-B2BE-058D978A8BC4}" type="datetime1">
              <a:t>06.06.2024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Presentasjonens eller kapittelets titt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C6A6BCC-FF39-42D9-ACE8-4D7C3119893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330E2F7-1E79-49FF-B1F3-FBCC459D6A8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8682" y="869429"/>
            <a:ext cx="3457125" cy="5139894"/>
          </a:xfr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8FFA8EC-5381-431A-A353-70E1893665E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29138" y="869429"/>
            <a:ext cx="3457125" cy="5139894"/>
          </a:xfr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710425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o bil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357E21F2-F8F0-2345-8529-B8D7623521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345278" y="768585"/>
            <a:ext cx="5335677" cy="353943"/>
          </a:xfrm>
        </p:spPr>
        <p:txBody>
          <a:bodyPr>
            <a:normAutofit/>
          </a:bodyPr>
          <a:lstStyle>
            <a:lvl1pPr marL="0" indent="0" algn="l">
              <a:buClr>
                <a:schemeClr val="bg2">
                  <a:lumMod val="75000"/>
                </a:schemeClr>
              </a:buClr>
              <a:buFont typeface="Arial" panose="020B0604020202020204" pitchFamily="34" charset="0"/>
              <a:buNone/>
              <a:defRPr sz="2300" b="1">
                <a:latin typeface="+mj-lt"/>
              </a:defRPr>
            </a:lvl1pPr>
            <a:lvl2pPr>
              <a:buClr>
                <a:schemeClr val="bg1"/>
              </a:buClr>
              <a:defRPr sz="2300" b="1">
                <a:latin typeface="+mj-lt"/>
              </a:defRPr>
            </a:lvl2pPr>
            <a:lvl3pPr>
              <a:buClr>
                <a:schemeClr val="bg1"/>
              </a:buClr>
              <a:defRPr sz="2300" b="1">
                <a:latin typeface="+mj-lt"/>
              </a:defRPr>
            </a:lvl3pPr>
            <a:lvl4pPr>
              <a:buClr>
                <a:schemeClr val="bg1"/>
              </a:buClr>
              <a:defRPr sz="2300" b="1">
                <a:latin typeface="+mj-lt"/>
              </a:defRPr>
            </a:lvl4pPr>
            <a:lvl5pPr>
              <a:buClr>
                <a:schemeClr val="bg1"/>
              </a:buClr>
              <a:defRPr sz="2300" b="1">
                <a:latin typeface="+mj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952F85C-67B2-224D-9081-363635A4972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08224" y="4201487"/>
            <a:ext cx="5335677" cy="353943"/>
          </a:xfrm>
        </p:spPr>
        <p:txBody>
          <a:bodyPr>
            <a:normAutofit/>
          </a:bodyPr>
          <a:lstStyle>
            <a:lvl1pPr marL="0" indent="0" algn="r">
              <a:buClr>
                <a:schemeClr val="bg2">
                  <a:lumMod val="75000"/>
                </a:schemeClr>
              </a:buClr>
              <a:buFont typeface="Arial" panose="020B0604020202020204" pitchFamily="34" charset="0"/>
              <a:buNone/>
              <a:defRPr sz="2300" b="1">
                <a:latin typeface="+mj-lt"/>
              </a:defRPr>
            </a:lvl1pPr>
            <a:lvl2pPr>
              <a:buClr>
                <a:schemeClr val="bg1"/>
              </a:buClr>
              <a:defRPr sz="2300" b="1">
                <a:latin typeface="+mj-lt"/>
              </a:defRPr>
            </a:lvl2pPr>
            <a:lvl3pPr>
              <a:buClr>
                <a:schemeClr val="bg1"/>
              </a:buClr>
              <a:defRPr sz="2300" b="1">
                <a:latin typeface="+mj-lt"/>
              </a:defRPr>
            </a:lvl3pPr>
            <a:lvl4pPr>
              <a:buClr>
                <a:schemeClr val="bg1"/>
              </a:buClr>
              <a:defRPr sz="2300" b="1">
                <a:latin typeface="+mj-lt"/>
              </a:defRPr>
            </a:lvl4pPr>
            <a:lvl5pPr>
              <a:buClr>
                <a:schemeClr val="bg1"/>
              </a:buClr>
              <a:defRPr sz="2300" b="1">
                <a:latin typeface="+mj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8DC53AC-A5B2-364D-B382-69E60BCB31A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45277" y="1338263"/>
            <a:ext cx="5335677" cy="1290334"/>
          </a:xfrm>
        </p:spPr>
        <p:txBody>
          <a:bodyPr/>
          <a:lstStyle>
            <a:lvl1pPr marL="0" indent="0" algn="l">
              <a:buClr>
                <a:schemeClr val="bg2">
                  <a:lumMod val="75000"/>
                </a:schemeClr>
              </a:buClr>
              <a:buFont typeface="Arial" panose="020B0604020202020204" pitchFamily="34" charset="0"/>
              <a:buNone/>
              <a:defRPr/>
            </a:lvl1pPr>
            <a:lvl2pPr marL="457040" indent="0" algn="l">
              <a:buClr>
                <a:schemeClr val="bg1"/>
              </a:buClr>
              <a:buNone/>
              <a:defRPr/>
            </a:lvl2pPr>
            <a:lvl3pPr marL="914080" indent="0" algn="l">
              <a:buClr>
                <a:schemeClr val="bg1"/>
              </a:buClr>
              <a:buNone/>
              <a:defRPr/>
            </a:lvl3pPr>
            <a:lvl4pPr marL="1371120" indent="0" algn="l">
              <a:buClr>
                <a:schemeClr val="bg1"/>
              </a:buClr>
              <a:buNone/>
              <a:defRPr/>
            </a:lvl4pPr>
            <a:lvl5pPr marL="1828160" indent="0" algn="l">
              <a:buClr>
                <a:schemeClr val="bg1"/>
              </a:buClr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4" name="Plassholder for bilde 10">
            <a:extLst>
              <a:ext uri="{FF2B5EF4-FFF2-40B4-BE49-F238E27FC236}">
                <a16:creationId xmlns:a16="http://schemas.microsoft.com/office/drawing/2014/main" id="{3F7E708B-D066-4A8C-A430-D0A7FD91CC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3429000"/>
            <a:ext cx="6097293" cy="3429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pPr marL="0" marR="0" lvl="0" indent="0" algn="l" defTabSz="2286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4223F4-0147-F641-84A0-66FD34A81A3E}" type="datetime1">
              <a:rPr kumimoji="0" lang="nb-NO" sz="100" b="0" i="0" u="none" strike="noStrike" kern="1200" cap="none" spc="0" normalizeH="0" baseline="0" noProof="0">
                <a:ln>
                  <a:noFill/>
                </a:ln>
                <a:solidFill>
                  <a:srgbClr val="1B5B59"/>
                </a:solidFill>
                <a:effectLst/>
                <a:uLnTx/>
                <a:uFillTx/>
                <a:latin typeface="Bierstadt"/>
                <a:ea typeface="+mn-ea"/>
                <a:cs typeface="+mn-cs"/>
              </a:rPr>
              <a:pPr marL="0" marR="0" lvl="0" indent="0" algn="l" defTabSz="2286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6.06.2024</a:t>
            </a:fld>
            <a:endParaRPr kumimoji="0" lang="en-GB" sz="100" b="0" i="0" u="none" strike="noStrike" kern="1200" cap="none" spc="0" normalizeH="0" baseline="0" noProof="0">
              <a:ln>
                <a:noFill/>
              </a:ln>
              <a:solidFill>
                <a:srgbClr val="1B5B59"/>
              </a:solidFill>
              <a:effectLst/>
              <a:uLnTx/>
              <a:uFillTx/>
              <a:latin typeface="Bierstadt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pPr marL="0" marR="0" lvl="0" indent="0" algn="r" defTabSz="2286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AFDFA"/>
                </a:solidFill>
                <a:effectLst/>
                <a:uLnTx/>
                <a:uFillTx/>
                <a:latin typeface="Bierstadt"/>
                <a:ea typeface="+mn-ea"/>
                <a:cs typeface="+mn-cs"/>
              </a:rPr>
              <a:t>Presentasjonens eller kapittelets titt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pPr marL="0" marR="0" lvl="0" indent="0" algn="r" defTabSz="2286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6A6BCC-FF39-42D9-ACE8-4D7C31198930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srgbClr val="FAFDFA"/>
                </a:solidFill>
                <a:effectLst/>
                <a:uLnTx/>
                <a:uFillTx/>
                <a:latin typeface="Bierstadt"/>
                <a:ea typeface="+mn-ea"/>
                <a:cs typeface="+mn-cs"/>
              </a:rPr>
              <a:pPr marL="0" marR="0" lvl="0" indent="0" algn="r" defTabSz="2286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FAFDFA"/>
              </a:solidFill>
              <a:effectLst/>
              <a:uLnTx/>
              <a:uFillTx/>
              <a:latin typeface="Bierstadt"/>
              <a:ea typeface="+mn-ea"/>
              <a:cs typeface="+mn-cs"/>
            </a:endParaRPr>
          </a:p>
        </p:txBody>
      </p:sp>
      <p:sp>
        <p:nvSpPr>
          <p:cNvPr id="22" name="Plassholder for tekst 29">
            <a:extLst>
              <a:ext uri="{FF2B5EF4-FFF2-40B4-BE49-F238E27FC236}">
                <a16:creationId xmlns:a16="http://schemas.microsoft.com/office/drawing/2014/main" id="{467C46CA-B925-4F9D-9892-3BE03A88CE0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11682247" y="6096768"/>
            <a:ext cx="509753" cy="50958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  <p:sp>
        <p:nvSpPr>
          <p:cNvPr id="26" name="Plassholder for tekst 29">
            <a:extLst>
              <a:ext uri="{FF2B5EF4-FFF2-40B4-BE49-F238E27FC236}">
                <a16:creationId xmlns:a16="http://schemas.microsoft.com/office/drawing/2014/main" id="{9C07BABA-FE02-49A3-8612-5A4D1589C4C0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11320411" y="6230098"/>
            <a:ext cx="12606" cy="24123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  <p:sp>
        <p:nvSpPr>
          <p:cNvPr id="9" name="Plassholder for bilde 10">
            <a:extLst>
              <a:ext uri="{FF2B5EF4-FFF2-40B4-BE49-F238E27FC236}">
                <a16:creationId xmlns:a16="http://schemas.microsoft.com/office/drawing/2014/main" id="{8210D27B-F0DD-664D-8182-DF2A8671D47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6096000" cy="3429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F8B80530-3109-4544-B711-A89B0E8D4FA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08225" y="4765892"/>
            <a:ext cx="5335677" cy="1290334"/>
          </a:xfrm>
        </p:spPr>
        <p:txBody>
          <a:bodyPr/>
          <a:lstStyle>
            <a:lvl1pPr marL="0" indent="0" algn="r">
              <a:buClr>
                <a:schemeClr val="bg2">
                  <a:lumMod val="75000"/>
                </a:schemeClr>
              </a:buClr>
              <a:buFont typeface="Arial" panose="020B0604020202020204" pitchFamily="34" charset="0"/>
              <a:buNone/>
              <a:defRPr/>
            </a:lvl1pPr>
            <a:lvl2pPr marL="457040" indent="0" algn="r">
              <a:buClr>
                <a:schemeClr val="bg1"/>
              </a:buClr>
              <a:buNone/>
              <a:defRPr/>
            </a:lvl2pPr>
            <a:lvl3pPr marL="914080" indent="0" algn="r">
              <a:buClr>
                <a:schemeClr val="bg1"/>
              </a:buClr>
              <a:buNone/>
              <a:defRPr/>
            </a:lvl3pPr>
            <a:lvl4pPr marL="1371120" indent="0" algn="r">
              <a:buClr>
                <a:schemeClr val="bg1"/>
              </a:buClr>
              <a:buNone/>
              <a:defRPr/>
            </a:lvl4pPr>
            <a:lvl5pPr marL="1828160" indent="0" algn="r">
              <a:buClr>
                <a:schemeClr val="bg1"/>
              </a:buClr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51975578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k 10">
            <a:extLst>
              <a:ext uri="{FF2B5EF4-FFF2-40B4-BE49-F238E27FC236}">
                <a16:creationId xmlns:a16="http://schemas.microsoft.com/office/drawing/2014/main" id="{ACDFD72E-48D5-4E46-94D8-6941EEE20E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b="61625"/>
          <a:stretch>
            <a:fillRect/>
          </a:stretch>
        </p:blipFill>
        <p:spPr>
          <a:xfrm>
            <a:off x="5044180" y="3219847"/>
            <a:ext cx="9483687" cy="3638154"/>
          </a:xfrm>
          <a:custGeom>
            <a:avLst/>
            <a:gdLst>
              <a:gd name="connsiteX0" fmla="*/ 0 w 18961200"/>
              <a:gd name="connsiteY0" fmla="*/ 0 h 7276307"/>
              <a:gd name="connsiteX1" fmla="*/ 18961200 w 18961200"/>
              <a:gd name="connsiteY1" fmla="*/ 0 h 7276307"/>
              <a:gd name="connsiteX2" fmla="*/ 18961200 w 18961200"/>
              <a:gd name="connsiteY2" fmla="*/ 265906 h 7276307"/>
              <a:gd name="connsiteX3" fmla="*/ 14290984 w 18961200"/>
              <a:gd name="connsiteY3" fmla="*/ 265906 h 7276307"/>
              <a:gd name="connsiteX4" fmla="*/ 14290984 w 18961200"/>
              <a:gd name="connsiteY4" fmla="*/ 7276307 h 7276307"/>
              <a:gd name="connsiteX5" fmla="*/ 0 w 18961200"/>
              <a:gd name="connsiteY5" fmla="*/ 7276307 h 72763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961200" h="7276307">
                <a:moveTo>
                  <a:pt x="0" y="0"/>
                </a:moveTo>
                <a:lnTo>
                  <a:pt x="18961200" y="0"/>
                </a:lnTo>
                <a:lnTo>
                  <a:pt x="18961200" y="265906"/>
                </a:lnTo>
                <a:lnTo>
                  <a:pt x="14290984" y="265906"/>
                </a:lnTo>
                <a:lnTo>
                  <a:pt x="14290984" y="7276307"/>
                </a:lnTo>
                <a:lnTo>
                  <a:pt x="0" y="7276307"/>
                </a:lnTo>
                <a:close/>
              </a:path>
            </a:pathLst>
          </a:custGeom>
        </p:spPr>
      </p:pic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4C11C648-6B75-4DA5-8BD7-1F031025D7A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/>
          <a:lstStyle/>
          <a:p>
            <a:fld id="{5073DDAF-0D82-554D-A84D-E7E725274BBF}" type="datetime1">
              <a:t>06.06.2024</a:t>
            </a:fld>
            <a:endParaRPr lang="en-GB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A44FEBC8-D211-40A1-BEB1-B9EA43D846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86780" y="-120060"/>
            <a:ext cx="4114800" cy="15389"/>
          </a:xfrm>
        </p:spPr>
        <p:txBody>
          <a:bodyPr/>
          <a:lstStyle>
            <a:lvl1pPr>
              <a:defRPr sz="100"/>
            </a:lvl1pPr>
          </a:lstStyle>
          <a:p>
            <a:r>
              <a:rPr lang="en-GB"/>
              <a:t>Presentasjonens eller kapittelets tittel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8038EAC5-513F-4D2F-A2EF-0E038DD282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246418" y="-120060"/>
            <a:ext cx="226749" cy="15389"/>
          </a:xfrm>
        </p:spPr>
        <p:txBody>
          <a:bodyPr/>
          <a:lstStyle>
            <a:lvl1pPr>
              <a:defRPr sz="100"/>
            </a:lvl1pPr>
          </a:lstStyle>
          <a:p>
            <a:fld id="{2C6A6BCC-FF39-42D9-ACE8-4D7C31198930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3" name="Grafikk 12">
            <a:extLst>
              <a:ext uri="{FF2B5EF4-FFF2-40B4-BE49-F238E27FC236}">
                <a16:creationId xmlns:a16="http://schemas.microsoft.com/office/drawing/2014/main" id="{B7107424-58FD-4F79-B78E-06DB8752C28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21086" y="2211343"/>
            <a:ext cx="6149828" cy="230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61474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lysbil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>
            <a:extLst>
              <a:ext uri="{FF2B5EF4-FFF2-40B4-BE49-F238E27FC236}">
                <a16:creationId xmlns:a16="http://schemas.microsoft.com/office/drawing/2014/main" id="{554A2B1E-151C-4753-81F8-5E4611CDC6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16"/>
            <a:ext cx="12192000" cy="685576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90399" y="2800987"/>
            <a:ext cx="7611205" cy="1286506"/>
          </a:xfrm>
        </p:spPr>
        <p:txBody>
          <a:bodyPr wrap="square" lIns="0" tIns="0" rIns="0" bIns="0" anchor="ctr">
            <a:noAutofit/>
          </a:bodyPr>
          <a:lstStyle>
            <a:lvl1pPr algn="ctr">
              <a:lnSpc>
                <a:spcPct val="95000"/>
              </a:lnSpc>
              <a:defRPr sz="4399" b="1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0" y="-98182"/>
            <a:ext cx="2743200" cy="1538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100"/>
            </a:lvl1pPr>
          </a:lstStyle>
          <a:p>
            <a:fld id="{3129ECF1-F0D3-4CD8-9C78-0C81B2D5F5E5}" type="datetimeFigureOut">
              <a:rPr lang="nb-NO" smtClean="0"/>
              <a:t>06.06.2024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00400" y="-98182"/>
            <a:ext cx="4114800" cy="15389"/>
          </a:xfrm>
        </p:spPr>
        <p:txBody>
          <a:bodyPr lIns="0" tIns="0" rIns="0" bIns="0">
            <a:spAutoFit/>
          </a:bodyPr>
          <a:lstStyle>
            <a:lvl1pPr>
              <a:defRPr sz="100"/>
            </a:lvl1pPr>
          </a:lstStyle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772400" y="-98182"/>
            <a:ext cx="2743200" cy="15389"/>
          </a:xfrm>
        </p:spPr>
        <p:txBody>
          <a:bodyPr lIns="0" tIns="0" rIns="0" bIns="0">
            <a:spAutoFit/>
          </a:bodyPr>
          <a:lstStyle>
            <a:lvl1pPr>
              <a:defRPr sz="100"/>
            </a:lvl1pPr>
          </a:lstStyle>
          <a:p>
            <a:fld id="{4409EF66-46AA-4080-844D-5B92F1A6B3C3}" type="slidenum">
              <a:rPr lang="nb-NO" smtClean="0"/>
              <a:t>‹#›</a:t>
            </a:fld>
            <a:endParaRPr lang="nb-NO"/>
          </a:p>
        </p:txBody>
      </p:sp>
      <p:pic>
        <p:nvPicPr>
          <p:cNvPr id="12" name="Grafikk 11">
            <a:extLst>
              <a:ext uri="{FF2B5EF4-FFF2-40B4-BE49-F238E27FC236}">
                <a16:creationId xmlns:a16="http://schemas.microsoft.com/office/drawing/2014/main" id="{0B80A904-3AB0-425B-9015-553223FC93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08226" y="508060"/>
            <a:ext cx="2047029" cy="768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6812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iny Åp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BBEAC1BE-BF43-C43F-593A-8C81D10BEF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esentasjonens eller kapittelets tittel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2FACECEC-F801-8961-4C4D-2493CC60A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6A6BCC-FF39-42D9-ACE8-4D7C3119893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Frihåndsform: figur 6">
            <a:extLst>
              <a:ext uri="{FF2B5EF4-FFF2-40B4-BE49-F238E27FC236}">
                <a16:creationId xmlns:a16="http://schemas.microsoft.com/office/drawing/2014/main" id="{01AA9041-F8E4-BE8C-3C00-8857CCC1F7B5}"/>
              </a:ext>
            </a:extLst>
          </p:cNvPr>
          <p:cNvSpPr/>
          <p:nvPr userDrawn="1"/>
        </p:nvSpPr>
        <p:spPr>
          <a:xfrm>
            <a:off x="0" y="5111640"/>
            <a:ext cx="1746929" cy="1746360"/>
          </a:xfrm>
          <a:custGeom>
            <a:avLst/>
            <a:gdLst>
              <a:gd name="connsiteX0" fmla="*/ 3492720 w 3492720"/>
              <a:gd name="connsiteY0" fmla="*/ 3493640 h 3492720"/>
              <a:gd name="connsiteX1" fmla="*/ 0 w 3492720"/>
              <a:gd name="connsiteY1" fmla="*/ 920 h 3492720"/>
              <a:gd name="connsiteX2" fmla="*/ 0 w 3492720"/>
              <a:gd name="connsiteY2" fmla="*/ 3493640 h 349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2720" h="3492720">
                <a:moveTo>
                  <a:pt x="3492720" y="3493640"/>
                </a:moveTo>
                <a:cubicBezTo>
                  <a:pt x="3492720" y="1564642"/>
                  <a:pt x="1928998" y="920"/>
                  <a:pt x="0" y="920"/>
                </a:cubicBezTo>
                <a:lnTo>
                  <a:pt x="0" y="3493640"/>
                </a:lnTo>
                <a:close/>
              </a:path>
            </a:pathLst>
          </a:custGeom>
          <a:solidFill>
            <a:schemeClr val="lt2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450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5E442377-6EED-FB1E-5F7F-ABE8790F82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8225" y="508060"/>
            <a:ext cx="2052668" cy="768706"/>
          </a:xfrm>
          <a:prstGeom prst="rect">
            <a:avLst/>
          </a:prstGeom>
        </p:spPr>
      </p:pic>
      <p:sp>
        <p:nvSpPr>
          <p:cNvPr id="9" name="TekstSylinder 8">
            <a:extLst>
              <a:ext uri="{FF2B5EF4-FFF2-40B4-BE49-F238E27FC236}">
                <a16:creationId xmlns:a16="http://schemas.microsoft.com/office/drawing/2014/main" id="{2D78B523-CB93-B7DD-1CCD-E2BB42871839}"/>
              </a:ext>
            </a:extLst>
          </p:cNvPr>
          <p:cNvSpPr txBox="1"/>
          <p:nvPr userDrawn="1"/>
        </p:nvSpPr>
        <p:spPr>
          <a:xfrm>
            <a:off x="2483784" y="1693213"/>
            <a:ext cx="7224432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4400" b="1">
                <a:solidFill>
                  <a:schemeClr val="accent1">
                    <a:lumMod val="50000"/>
                  </a:schemeClr>
                </a:solidFill>
              </a:rPr>
              <a:t>Denne presentasjonen er</a:t>
            </a:r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CC7AD2B0-4AC3-E6ED-ADAD-FE3F0C4E1357}"/>
              </a:ext>
            </a:extLst>
          </p:cNvPr>
          <p:cNvSpPr txBox="1"/>
          <p:nvPr userDrawn="1"/>
        </p:nvSpPr>
        <p:spPr>
          <a:xfrm>
            <a:off x="3183592" y="2767280"/>
            <a:ext cx="6098240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8000" b="1">
                <a:solidFill>
                  <a:schemeClr val="accent1">
                    <a:lumMod val="50000"/>
                  </a:schemeClr>
                </a:solidFill>
              </a:rPr>
              <a:t>Eviny</a:t>
            </a:r>
            <a:r>
              <a:rPr lang="nb-NO" sz="8000" b="1"/>
              <a:t> </a:t>
            </a:r>
            <a:r>
              <a:rPr lang="nb-NO" sz="8000" b="1">
                <a:solidFill>
                  <a:srgbClr val="76E691"/>
                </a:solidFill>
              </a:rPr>
              <a:t>Åpen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24F543F6-EE93-7596-A42A-B3B8373D0844}"/>
              </a:ext>
            </a:extLst>
          </p:cNvPr>
          <p:cNvSpPr txBox="1"/>
          <p:nvPr userDrawn="1"/>
        </p:nvSpPr>
        <p:spPr>
          <a:xfrm>
            <a:off x="3274360" y="3906053"/>
            <a:ext cx="6205816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2000" b="1">
                <a:solidFill>
                  <a:schemeClr val="accent1">
                    <a:lumMod val="50000"/>
                  </a:schemeClr>
                </a:solidFill>
              </a:rPr>
              <a:t>Innholdet kan deles med alle og utgjør ikke skade </a:t>
            </a:r>
            <a:br>
              <a:rPr lang="nb-NO" sz="2000" b="1">
                <a:solidFill>
                  <a:schemeClr val="accent1">
                    <a:lumMod val="50000"/>
                  </a:schemeClr>
                </a:solidFill>
              </a:rPr>
            </a:br>
            <a:r>
              <a:rPr lang="nb-NO" sz="2000" b="1">
                <a:solidFill>
                  <a:schemeClr val="accent1">
                    <a:lumMod val="50000"/>
                  </a:schemeClr>
                </a:solidFill>
              </a:rPr>
              <a:t>for Eviny eller enkeltpersoner dersom offentliggjort</a:t>
            </a:r>
          </a:p>
        </p:txBody>
      </p:sp>
    </p:spTree>
    <p:extLst>
      <p:ext uri="{BB962C8B-B14F-4D97-AF65-F5344CB8AC3E}">
        <p14:creationId xmlns:p14="http://schemas.microsoft.com/office/powerpoint/2010/main" val="305677469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iny Sensitiv">
    <p:bg>
      <p:bgPr>
        <a:solidFill>
          <a:srgbClr val="655D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05D6702B-3556-1F7A-52F8-6994179536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esentasjonens eller kapittelets tittel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A32B25CB-3A3A-51B1-3DC1-EF387A6AB2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6A6BCC-FF39-42D9-ACE8-4D7C3119893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Frihåndsform: figur 7">
            <a:extLst>
              <a:ext uri="{FF2B5EF4-FFF2-40B4-BE49-F238E27FC236}">
                <a16:creationId xmlns:a16="http://schemas.microsoft.com/office/drawing/2014/main" id="{9527853D-87C6-E964-95FE-FCAFE6B14DCB}"/>
              </a:ext>
            </a:extLst>
          </p:cNvPr>
          <p:cNvSpPr/>
          <p:nvPr userDrawn="1"/>
        </p:nvSpPr>
        <p:spPr>
          <a:xfrm>
            <a:off x="0" y="5111640"/>
            <a:ext cx="1746929" cy="1746360"/>
          </a:xfrm>
          <a:custGeom>
            <a:avLst/>
            <a:gdLst>
              <a:gd name="connsiteX0" fmla="*/ 3492720 w 3492720"/>
              <a:gd name="connsiteY0" fmla="*/ 3493640 h 3492720"/>
              <a:gd name="connsiteX1" fmla="*/ 0 w 3492720"/>
              <a:gd name="connsiteY1" fmla="*/ 920 h 3492720"/>
              <a:gd name="connsiteX2" fmla="*/ 0 w 3492720"/>
              <a:gd name="connsiteY2" fmla="*/ 3493640 h 349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2720" h="3492720">
                <a:moveTo>
                  <a:pt x="3492720" y="3493640"/>
                </a:moveTo>
                <a:cubicBezTo>
                  <a:pt x="3492720" y="1564642"/>
                  <a:pt x="1928998" y="920"/>
                  <a:pt x="0" y="920"/>
                </a:cubicBezTo>
                <a:lnTo>
                  <a:pt x="0" y="3493640"/>
                </a:lnTo>
                <a:close/>
              </a:path>
            </a:pathLst>
          </a:custGeom>
          <a:solidFill>
            <a:schemeClr val="accent6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450"/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7425918C-EAEC-1577-0622-C717A78A83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8225" y="508060"/>
            <a:ext cx="2047029" cy="768706"/>
          </a:xfrm>
          <a:prstGeom prst="rect">
            <a:avLst/>
          </a:prstGeom>
        </p:spPr>
      </p:pic>
      <p:sp>
        <p:nvSpPr>
          <p:cNvPr id="10" name="TekstSylinder 9">
            <a:extLst>
              <a:ext uri="{FF2B5EF4-FFF2-40B4-BE49-F238E27FC236}">
                <a16:creationId xmlns:a16="http://schemas.microsoft.com/office/drawing/2014/main" id="{FBC50314-0293-A08C-1535-6FAD497C2E5E}"/>
              </a:ext>
            </a:extLst>
          </p:cNvPr>
          <p:cNvSpPr txBox="1"/>
          <p:nvPr userDrawn="1"/>
        </p:nvSpPr>
        <p:spPr>
          <a:xfrm>
            <a:off x="2860861" y="2459504"/>
            <a:ext cx="6673103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8000" b="1">
                <a:solidFill>
                  <a:schemeClr val="bg1"/>
                </a:solidFill>
              </a:rPr>
              <a:t>Eviny </a:t>
            </a:r>
            <a:r>
              <a:rPr lang="nb-NO" sz="8000" b="1">
                <a:solidFill>
                  <a:srgbClr val="FC6D19"/>
                </a:solidFill>
              </a:rPr>
              <a:t>Sensitiv</a:t>
            </a:r>
          </a:p>
          <a:p>
            <a:r>
              <a:rPr lang="nb-NO" sz="2000" b="1">
                <a:solidFill>
                  <a:schemeClr val="bg1"/>
                </a:solidFill>
              </a:rPr>
              <a:t>Innholdet skal ikke deles videre uten aktiv godkjenning fra presentasjonsholder</a:t>
            </a: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962710F5-3E00-EA9A-BF23-6C89274067C5}"/>
              </a:ext>
            </a:extLst>
          </p:cNvPr>
          <p:cNvSpPr txBox="1"/>
          <p:nvPr userDrawn="1"/>
        </p:nvSpPr>
        <p:spPr>
          <a:xfrm>
            <a:off x="2555254" y="1532964"/>
            <a:ext cx="697871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4400" b="1">
                <a:solidFill>
                  <a:schemeClr val="bg1"/>
                </a:solidFill>
              </a:rPr>
              <a:t>Denne presentasjonen er</a:t>
            </a:r>
          </a:p>
        </p:txBody>
      </p:sp>
    </p:spTree>
    <p:extLst>
      <p:ext uri="{BB962C8B-B14F-4D97-AF65-F5344CB8AC3E}">
        <p14:creationId xmlns:p14="http://schemas.microsoft.com/office/powerpoint/2010/main" val="38532113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lk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837C36F4-3439-485F-9F85-8CA1656B1F6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/>
          <a:lstStyle/>
          <a:p>
            <a:fld id="{248DDA0D-1BEE-7A42-B1EE-FBCD3D3D216C}" type="datetime1">
              <a:t>06.06.2024</a:t>
            </a:fld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1AC607D-34F9-4335-B0D4-1F7783103F3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8225" y="2477136"/>
            <a:ext cx="4846568" cy="2097080"/>
          </a:xfrm>
        </p:spPr>
        <p:txBody>
          <a:bodyPr wrap="square" lIns="0" tIns="0" rIns="0" bIns="0" anchor="t">
            <a:noAutofit/>
          </a:bodyPr>
          <a:lstStyle>
            <a:lvl1pPr algn="l">
              <a:lnSpc>
                <a:spcPct val="95000"/>
              </a:lnSpc>
              <a:defRPr sz="4400" b="1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68CC84F6-902E-406B-85A0-45091D2063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8225" y="508060"/>
            <a:ext cx="2052668" cy="768706"/>
          </a:xfrm>
          <a:prstGeom prst="rect">
            <a:avLst/>
          </a:prstGeom>
        </p:spPr>
      </p:pic>
      <p:sp>
        <p:nvSpPr>
          <p:cNvPr id="10" name="Ellipse 9">
            <a:extLst>
              <a:ext uri="{FF2B5EF4-FFF2-40B4-BE49-F238E27FC236}">
                <a16:creationId xmlns:a16="http://schemas.microsoft.com/office/drawing/2014/main" id="{86B8EF1F-F258-4684-84D0-56CC41E8500D}"/>
              </a:ext>
            </a:extLst>
          </p:cNvPr>
          <p:cNvSpPr/>
          <p:nvPr userDrawn="1"/>
        </p:nvSpPr>
        <p:spPr>
          <a:xfrm>
            <a:off x="6352866" y="635084"/>
            <a:ext cx="5589019" cy="55872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50"/>
          </a:p>
        </p:txBody>
      </p:sp>
      <p:sp>
        <p:nvSpPr>
          <p:cNvPr id="11" name="Plassholder for bunntekst 3">
            <a:extLst>
              <a:ext uri="{FF2B5EF4-FFF2-40B4-BE49-F238E27FC236}">
                <a16:creationId xmlns:a16="http://schemas.microsoft.com/office/drawing/2014/main" id="{BA61E25B-057D-4011-8A6B-0A208C4F39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86780" y="-120060"/>
            <a:ext cx="4114800" cy="15389"/>
          </a:xfrm>
        </p:spPr>
        <p:txBody>
          <a:bodyPr/>
          <a:lstStyle>
            <a:lvl1pPr>
              <a:defRPr sz="100"/>
            </a:lvl1pPr>
          </a:lstStyle>
          <a:p>
            <a:r>
              <a:rPr lang="en-GB"/>
              <a:t>Presentasjonens eller kapittelets tittel</a:t>
            </a:r>
          </a:p>
        </p:txBody>
      </p:sp>
      <p:sp>
        <p:nvSpPr>
          <p:cNvPr id="12" name="Plassholder for lysbildenummer 4">
            <a:extLst>
              <a:ext uri="{FF2B5EF4-FFF2-40B4-BE49-F238E27FC236}">
                <a16:creationId xmlns:a16="http://schemas.microsoft.com/office/drawing/2014/main" id="{3E8C21B8-D9B3-4944-8D30-09E82F4071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246418" y="-120060"/>
            <a:ext cx="226749" cy="15389"/>
          </a:xfrm>
        </p:spPr>
        <p:txBody>
          <a:bodyPr/>
          <a:lstStyle>
            <a:lvl1pPr>
              <a:defRPr sz="100"/>
            </a:lvl1pPr>
          </a:lstStyle>
          <a:p>
            <a:fld id="{2C6A6BCC-FF39-42D9-ACE8-4D7C31198930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488547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>
            <a:extLst>
              <a:ext uri="{FF2B5EF4-FFF2-40B4-BE49-F238E27FC236}">
                <a16:creationId xmlns:a16="http://schemas.microsoft.com/office/drawing/2014/main" id="{C1D0A842-8C3B-4CBD-BFD4-6599C0CB1E6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16"/>
            <a:ext cx="12192000" cy="685576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90398" y="2800987"/>
            <a:ext cx="7611205" cy="1286506"/>
          </a:xfrm>
        </p:spPr>
        <p:txBody>
          <a:bodyPr wrap="square" lIns="0" tIns="0" rIns="0" bIns="0" anchor="ctr">
            <a:noAutofit/>
          </a:bodyPr>
          <a:lstStyle>
            <a:lvl1pPr algn="ctr">
              <a:lnSpc>
                <a:spcPct val="95000"/>
              </a:lnSpc>
              <a:defRPr sz="4400" b="1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0" y="-98182"/>
            <a:ext cx="2743200" cy="1538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100"/>
            </a:lvl1pPr>
          </a:lstStyle>
          <a:p>
            <a:fld id="{2BBD2863-E5EF-7A42-87CA-8080896F8ABA}" type="datetime1">
              <a:t>06.06.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00400" y="-98182"/>
            <a:ext cx="4114800" cy="15389"/>
          </a:xfrm>
        </p:spPr>
        <p:txBody>
          <a:bodyPr lIns="0" tIns="0" rIns="0" bIns="0">
            <a:spAutoFit/>
          </a:bodyPr>
          <a:lstStyle>
            <a:lvl1pPr>
              <a:defRPr sz="100"/>
            </a:lvl1pPr>
          </a:lstStyle>
          <a:p>
            <a:r>
              <a:rPr lang="en-GB"/>
              <a:t>Presentasjonens eller kapittelets titt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772400" y="-98182"/>
            <a:ext cx="2743200" cy="15389"/>
          </a:xfrm>
        </p:spPr>
        <p:txBody>
          <a:bodyPr lIns="0" tIns="0" rIns="0" bIns="0">
            <a:spAutoFit/>
          </a:bodyPr>
          <a:lstStyle>
            <a:lvl1pPr>
              <a:defRPr sz="100"/>
            </a:lvl1pPr>
          </a:lstStyle>
          <a:p>
            <a:fld id="{2C6A6BCC-FF39-42D9-ACE8-4D7C31198930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2140CC8D-0496-4406-ABD1-3C8CD45E226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08225" y="508060"/>
            <a:ext cx="2052668" cy="768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60083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 2">
    <p:bg>
      <p:bgPr>
        <a:solidFill>
          <a:srgbClr val="392B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>
            <a:extLst>
              <a:ext uri="{FF2B5EF4-FFF2-40B4-BE49-F238E27FC236}">
                <a16:creationId xmlns:a16="http://schemas.microsoft.com/office/drawing/2014/main" id="{554A2B1E-151C-4753-81F8-5E4611CDC6A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16"/>
            <a:ext cx="12192000" cy="685576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90398" y="2800987"/>
            <a:ext cx="7611205" cy="1286506"/>
          </a:xfrm>
        </p:spPr>
        <p:txBody>
          <a:bodyPr wrap="square" lIns="0" tIns="0" rIns="0" bIns="0" anchor="ctr">
            <a:noAutofit/>
          </a:bodyPr>
          <a:lstStyle>
            <a:lvl1pPr algn="ctr">
              <a:lnSpc>
                <a:spcPct val="95000"/>
              </a:lnSpc>
              <a:defRPr sz="4400" b="1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0" y="-98182"/>
            <a:ext cx="2743200" cy="1538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100"/>
            </a:lvl1pPr>
          </a:lstStyle>
          <a:p>
            <a:fld id="{86A4D468-3970-6C49-A942-A2BBBB8CCA6B}" type="datetime1">
              <a:t>06.06.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00400" y="-98182"/>
            <a:ext cx="4114800" cy="15389"/>
          </a:xfrm>
        </p:spPr>
        <p:txBody>
          <a:bodyPr lIns="0" tIns="0" rIns="0" bIns="0">
            <a:spAutoFit/>
          </a:bodyPr>
          <a:lstStyle>
            <a:lvl1pPr>
              <a:defRPr sz="100"/>
            </a:lvl1pPr>
          </a:lstStyle>
          <a:p>
            <a:r>
              <a:rPr lang="en-GB"/>
              <a:t>Presentasjonens eller kapittelets titt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772400" y="-98182"/>
            <a:ext cx="2743200" cy="15389"/>
          </a:xfrm>
        </p:spPr>
        <p:txBody>
          <a:bodyPr lIns="0" tIns="0" rIns="0" bIns="0">
            <a:spAutoFit/>
          </a:bodyPr>
          <a:lstStyle>
            <a:lvl1pPr>
              <a:defRPr sz="100"/>
            </a:lvl1pPr>
          </a:lstStyle>
          <a:p>
            <a:fld id="{2C6A6BCC-FF39-42D9-ACE8-4D7C31198930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2" name="Grafikk 11">
            <a:extLst>
              <a:ext uri="{FF2B5EF4-FFF2-40B4-BE49-F238E27FC236}">
                <a16:creationId xmlns:a16="http://schemas.microsoft.com/office/drawing/2014/main" id="{0B80A904-3AB0-425B-9015-553223FC932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08225" y="508060"/>
            <a:ext cx="2047029" cy="768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705615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22C1A7E-B947-495D-A669-27690D30865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8225" y="2809125"/>
            <a:ext cx="5587775" cy="609398"/>
          </a:xfrm>
        </p:spPr>
        <p:txBody>
          <a:bodyPr wrap="square" anchor="b">
            <a:spAutoFit/>
          </a:bodyPr>
          <a:lstStyle>
            <a:lvl1pPr algn="l">
              <a:defRPr sz="4400" b="1">
                <a:solidFill>
                  <a:schemeClr val="lt1"/>
                </a:solidFill>
              </a:defRPr>
            </a:lvl1pPr>
          </a:lstStyle>
          <a:p>
            <a:r>
              <a:rPr lang="nb-NO"/>
              <a:t>Navn </a:t>
            </a:r>
            <a:r>
              <a:rPr lang="nb-NO" err="1"/>
              <a:t>Navnesen</a:t>
            </a:r>
            <a:endParaRPr lang="en-GB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1CDE6D00-3DD7-419A-8BCF-D34774BD7FE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8225" y="3632518"/>
            <a:ext cx="5587775" cy="430887"/>
          </a:xfrm>
        </p:spPr>
        <p:txBody>
          <a:bodyPr wrap="square">
            <a:spAutoFit/>
          </a:bodyPr>
          <a:lstStyle>
            <a:lvl1pPr marL="0" indent="0" algn="l">
              <a:buNone/>
              <a:defRPr sz="2800" b="0">
                <a:solidFill>
                  <a:schemeClr val="lt1"/>
                </a:solidFill>
              </a:defRPr>
            </a:lvl1pPr>
            <a:lvl2pPr marL="228600" indent="0" algn="ctr">
              <a:buNone/>
              <a:defRPr sz="1000"/>
            </a:lvl2pPr>
            <a:lvl3pPr marL="457200" indent="0" algn="ctr">
              <a:buNone/>
              <a:defRPr sz="900"/>
            </a:lvl3pPr>
            <a:lvl4pPr marL="685800" indent="0" algn="ctr">
              <a:buNone/>
              <a:defRPr sz="800"/>
            </a:lvl4pPr>
            <a:lvl5pPr marL="914400" indent="0" algn="ctr">
              <a:buNone/>
              <a:defRPr sz="800"/>
            </a:lvl5pPr>
            <a:lvl6pPr marL="1143000" indent="0" algn="ctr">
              <a:buNone/>
              <a:defRPr sz="800"/>
            </a:lvl6pPr>
            <a:lvl7pPr marL="1371600" indent="0" algn="ctr">
              <a:buNone/>
              <a:defRPr sz="800"/>
            </a:lvl7pPr>
            <a:lvl8pPr marL="1600200" indent="0" algn="ctr">
              <a:buNone/>
              <a:defRPr sz="800"/>
            </a:lvl8pPr>
            <a:lvl9pPr marL="1828800" indent="0" algn="ctr">
              <a:buNone/>
              <a:defRPr sz="800"/>
            </a:lvl9pPr>
          </a:lstStyle>
          <a:p>
            <a:r>
              <a:rPr lang="nb-NO"/>
              <a:t>Klikk for å redigere undertittelstil i malen</a:t>
            </a:r>
            <a:endParaRPr lang="en-GB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E88278C5-46EE-42FF-A314-3D68F530EAA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/>
          <a:lstStyle/>
          <a:p>
            <a:fld id="{9C6C1255-2D22-3047-905C-F76DBFC2756B}" type="datetime1">
              <a:t>06.06.2024</a:t>
            </a:fld>
            <a:endParaRPr lang="en-GB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1F1DF95-9059-4F80-8961-9E17A1EE9C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en-GB"/>
              <a:t>Presentasjonens eller kapittelets tittel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C0FEBC7-3E7F-4DCB-B8BD-C094F96491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0AF96A3C-BADD-47E8-80A5-E96544A6C10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Plassholder for bilde 13">
            <a:extLst>
              <a:ext uri="{FF2B5EF4-FFF2-40B4-BE49-F238E27FC236}">
                <a16:creationId xmlns:a16="http://schemas.microsoft.com/office/drawing/2014/main" id="{8DC9D736-C99A-442F-987A-C1875C8EFB5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06978" y="1143143"/>
            <a:ext cx="4573489" cy="4572000"/>
          </a:xfrm>
          <a:custGeom>
            <a:avLst/>
            <a:gdLst>
              <a:gd name="connsiteX0" fmla="*/ 4572000 w 9144000"/>
              <a:gd name="connsiteY0" fmla="*/ 0 h 9144000"/>
              <a:gd name="connsiteX1" fmla="*/ 5039460 w 9144000"/>
              <a:gd name="connsiteY1" fmla="*/ 23605 h 9144000"/>
              <a:gd name="connsiteX2" fmla="*/ 5061772 w 9144000"/>
              <a:gd name="connsiteY2" fmla="*/ 26440 h 9144000"/>
              <a:gd name="connsiteX3" fmla="*/ 5204330 w 9144000"/>
              <a:gd name="connsiteY3" fmla="*/ 183293 h 9144000"/>
              <a:gd name="connsiteX4" fmla="*/ 7494182 w 9144000"/>
              <a:gd name="connsiteY4" fmla="*/ 1201670 h 9144000"/>
              <a:gd name="connsiteX5" fmla="*/ 7665276 w 9144000"/>
              <a:gd name="connsiteY5" fmla="*/ 1205996 h 9144000"/>
              <a:gd name="connsiteX6" fmla="*/ 7804892 w 9144000"/>
              <a:gd name="connsiteY6" fmla="*/ 1339108 h 9144000"/>
              <a:gd name="connsiteX7" fmla="*/ 9144000 w 9144000"/>
              <a:gd name="connsiteY7" fmla="*/ 4572000 h 9144000"/>
              <a:gd name="connsiteX8" fmla="*/ 4572000 w 9144000"/>
              <a:gd name="connsiteY8" fmla="*/ 9144000 h 9144000"/>
              <a:gd name="connsiteX9" fmla="*/ 0 w 9144000"/>
              <a:gd name="connsiteY9" fmla="*/ 4572000 h 9144000"/>
              <a:gd name="connsiteX10" fmla="*/ 4572000 w 9144000"/>
              <a:gd name="connsiteY10" fmla="*/ 0 h 91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144000" h="9144000">
                <a:moveTo>
                  <a:pt x="4572000" y="0"/>
                </a:moveTo>
                <a:cubicBezTo>
                  <a:pt x="4729816" y="0"/>
                  <a:pt x="4885764" y="7996"/>
                  <a:pt x="5039460" y="23605"/>
                </a:cubicBezTo>
                <a:lnTo>
                  <a:pt x="5061772" y="26440"/>
                </a:lnTo>
                <a:lnTo>
                  <a:pt x="5204330" y="183293"/>
                </a:lnTo>
                <a:cubicBezTo>
                  <a:pt x="5796844" y="775807"/>
                  <a:pt x="6601272" y="1156409"/>
                  <a:pt x="7494182" y="1201670"/>
                </a:cubicBezTo>
                <a:lnTo>
                  <a:pt x="7665276" y="1205996"/>
                </a:lnTo>
                <a:lnTo>
                  <a:pt x="7804892" y="1339108"/>
                </a:lnTo>
                <a:cubicBezTo>
                  <a:pt x="8632262" y="2166477"/>
                  <a:pt x="9144000" y="3309477"/>
                  <a:pt x="9144000" y="4572000"/>
                </a:cubicBezTo>
                <a:cubicBezTo>
                  <a:pt x="9144000" y="7097046"/>
                  <a:pt x="7097046" y="9144000"/>
                  <a:pt x="4572000" y="9144000"/>
                </a:cubicBezTo>
                <a:cubicBezTo>
                  <a:pt x="2046954" y="9144000"/>
                  <a:pt x="0" y="7097046"/>
                  <a:pt x="0" y="4572000"/>
                </a:cubicBezTo>
                <a:cubicBezTo>
                  <a:pt x="0" y="2046954"/>
                  <a:pt x="2046954" y="0"/>
                  <a:pt x="4572000" y="0"/>
                </a:cubicBezTo>
                <a:close/>
              </a:path>
            </a:pathLst>
          </a:cu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10" name="Frihåndsform: figur 9">
            <a:extLst>
              <a:ext uri="{FF2B5EF4-FFF2-40B4-BE49-F238E27FC236}">
                <a16:creationId xmlns:a16="http://schemas.microsoft.com/office/drawing/2014/main" id="{B7C7F050-1572-4C45-99BD-7CB7B1EB94B5}"/>
              </a:ext>
            </a:extLst>
          </p:cNvPr>
          <p:cNvSpPr/>
          <p:nvPr/>
        </p:nvSpPr>
        <p:spPr>
          <a:xfrm>
            <a:off x="8698362" y="0"/>
            <a:ext cx="3493637" cy="1746250"/>
          </a:xfrm>
          <a:custGeom>
            <a:avLst/>
            <a:gdLst>
              <a:gd name="connsiteX0" fmla="*/ 0 w 6985000"/>
              <a:gd name="connsiteY0" fmla="*/ 0 h 3492500"/>
              <a:gd name="connsiteX1" fmla="*/ 3492500 w 6985000"/>
              <a:gd name="connsiteY1" fmla="*/ 3492500 h 3492500"/>
              <a:gd name="connsiteX2" fmla="*/ 6985000 w 6985000"/>
              <a:gd name="connsiteY2" fmla="*/ 0 h 3492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985000" h="3492500">
                <a:moveTo>
                  <a:pt x="0" y="0"/>
                </a:moveTo>
                <a:cubicBezTo>
                  <a:pt x="0" y="1928876"/>
                  <a:pt x="1563624" y="3492500"/>
                  <a:pt x="3492500" y="3492500"/>
                </a:cubicBezTo>
                <a:cubicBezTo>
                  <a:pt x="5421376" y="3492500"/>
                  <a:pt x="6985000" y="1928876"/>
                  <a:pt x="6985000" y="0"/>
                </a:cubicBezTo>
                <a:close/>
              </a:path>
            </a:pathLst>
          </a:custGeom>
          <a:solidFill>
            <a:srgbClr val="FCD300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450"/>
          </a:p>
        </p:txBody>
      </p:sp>
      <p:sp>
        <p:nvSpPr>
          <p:cNvPr id="12" name="Frihåndsform: figur 11">
            <a:extLst>
              <a:ext uri="{FF2B5EF4-FFF2-40B4-BE49-F238E27FC236}">
                <a16:creationId xmlns:a16="http://schemas.microsoft.com/office/drawing/2014/main" id="{6F4E354F-6224-450E-9D3D-4C5D0BCF0EDD}"/>
              </a:ext>
            </a:extLst>
          </p:cNvPr>
          <p:cNvSpPr/>
          <p:nvPr/>
        </p:nvSpPr>
        <p:spPr>
          <a:xfrm>
            <a:off x="-3970" y="5111750"/>
            <a:ext cx="1746819" cy="1746250"/>
          </a:xfrm>
          <a:custGeom>
            <a:avLst/>
            <a:gdLst>
              <a:gd name="connsiteX0" fmla="*/ 3492500 w 3492500"/>
              <a:gd name="connsiteY0" fmla="*/ 3492500 h 3492500"/>
              <a:gd name="connsiteX1" fmla="*/ 0 w 3492500"/>
              <a:gd name="connsiteY1" fmla="*/ 0 h 3492500"/>
              <a:gd name="connsiteX2" fmla="*/ 0 w 3492500"/>
              <a:gd name="connsiteY2" fmla="*/ 3492500 h 3492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2500" h="3492500">
                <a:moveTo>
                  <a:pt x="3492500" y="3492500"/>
                </a:moveTo>
                <a:cubicBezTo>
                  <a:pt x="3492500" y="1563624"/>
                  <a:pt x="1928876" y="0"/>
                  <a:pt x="0" y="0"/>
                </a:cubicBezTo>
                <a:lnTo>
                  <a:pt x="0" y="3492500"/>
                </a:lnTo>
                <a:close/>
              </a:path>
            </a:pathLst>
          </a:custGeom>
          <a:solidFill>
            <a:srgbClr val="FCD300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450"/>
          </a:p>
        </p:txBody>
      </p:sp>
    </p:spTree>
    <p:extLst>
      <p:ext uri="{BB962C8B-B14F-4D97-AF65-F5344CB8AC3E}">
        <p14:creationId xmlns:p14="http://schemas.microsoft.com/office/powerpoint/2010/main" val="33727503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6">
            <a:extLst>
              <a:ext uri="{FF2B5EF4-FFF2-40B4-BE49-F238E27FC236}">
                <a16:creationId xmlns:a16="http://schemas.microsoft.com/office/drawing/2014/main" id="{3FBB1238-B46C-C445-9134-79556603E57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16"/>
            <a:ext cx="12192000" cy="6855768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A22C1A7E-B947-495D-A669-27690D3086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8226" y="2182800"/>
            <a:ext cx="4601794" cy="1235723"/>
          </a:xfrm>
        </p:spPr>
        <p:txBody>
          <a:bodyPr wrap="square" anchor="b">
            <a:spAutoFit/>
          </a:bodyPr>
          <a:lstStyle>
            <a:lvl1pPr algn="l">
              <a:defRPr sz="4400" b="1">
                <a:solidFill>
                  <a:schemeClr val="bg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E88278C5-46EE-42FF-A314-3D68F530EAA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/>
          <a:lstStyle/>
          <a:p>
            <a:fld id="{6A70DDC1-8FFC-624B-BFC5-76C01CD29671}" type="datetime1">
              <a:t>06.06.2024</a:t>
            </a:fld>
            <a:endParaRPr lang="en-GB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1F1DF95-9059-4F80-8961-9E17A1EE9C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GB"/>
              <a:t>Presentasjonens eller kapittelets tittel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C0FEBC7-3E7F-4DCB-B8BD-C094F96491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0AF96A3C-BADD-47E8-80A5-E96544A6C10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FC744FD0-7D08-408B-A97D-A4C4406E03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06745" y="2428390"/>
            <a:ext cx="4861689" cy="3002757"/>
          </a:xfrm>
        </p:spPr>
        <p:txBody>
          <a:bodyPr>
            <a:normAutofit/>
          </a:bodyPr>
          <a:lstStyle>
            <a:lvl1pPr marL="361950" indent="-361950">
              <a:lnSpc>
                <a:spcPct val="100000"/>
              </a:lnSpc>
              <a:spcBef>
                <a:spcPts val="750"/>
              </a:spcBef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Char char="●"/>
              <a:defRPr sz="2800" b="1">
                <a:solidFill>
                  <a:schemeClr val="bg2"/>
                </a:solidFill>
              </a:defRPr>
            </a:lvl1pPr>
            <a:lvl2pPr marL="457040" indent="0">
              <a:buNone/>
              <a:defRPr/>
            </a:lvl2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B31E833D-6CEF-47AF-A842-08013A6181B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682247" y="6096768"/>
            <a:ext cx="509753" cy="509588"/>
          </a:xfrm>
          <a:prstGeom prst="rect">
            <a:avLst/>
          </a:prstGeom>
        </p:spPr>
      </p:pic>
      <p:cxnSp>
        <p:nvCxnSpPr>
          <p:cNvPr id="12" name="Rett linje 11">
            <a:extLst>
              <a:ext uri="{FF2B5EF4-FFF2-40B4-BE49-F238E27FC236}">
                <a16:creationId xmlns:a16="http://schemas.microsoft.com/office/drawing/2014/main" id="{635C25F5-BB3E-4579-BA5A-D3E2FDFADE03}"/>
              </a:ext>
            </a:extLst>
          </p:cNvPr>
          <p:cNvCxnSpPr/>
          <p:nvPr userDrawn="1"/>
        </p:nvCxnSpPr>
        <p:spPr>
          <a:xfrm>
            <a:off x="11326075" y="6230128"/>
            <a:ext cx="0" cy="241200"/>
          </a:xfrm>
          <a:prstGeom prst="line">
            <a:avLst/>
          </a:prstGeom>
          <a:ln w="12700">
            <a:solidFill>
              <a:schemeClr val="l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20256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>
            <a:extLst>
              <a:ext uri="{FF2B5EF4-FFF2-40B4-BE49-F238E27FC236}">
                <a16:creationId xmlns:a16="http://schemas.microsoft.com/office/drawing/2014/main" id="{1E715267-34AF-4B74-AAD1-72409E09DE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16"/>
            <a:ext cx="12192000" cy="6855768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A22C1A7E-B947-495D-A669-27690D3086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8226" y="2199728"/>
            <a:ext cx="4601794" cy="1218795"/>
          </a:xfrm>
        </p:spPr>
        <p:txBody>
          <a:bodyPr wrap="square" anchor="b">
            <a:spAutoFit/>
          </a:bodyPr>
          <a:lstStyle>
            <a:lvl1pPr algn="l">
              <a:defRPr sz="4400" b="1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E88278C5-46EE-42FF-A314-3D68F530EAA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/>
          <a:lstStyle/>
          <a:p>
            <a:fld id="{6A70DDC1-8FFC-624B-BFC5-76C01CD29671}" type="datetime1">
              <a:t>06.06.2024</a:t>
            </a:fld>
            <a:endParaRPr lang="en-GB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1F1DF95-9059-4F80-8961-9E17A1EE9C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en-GB"/>
              <a:t>Presentasjonens eller kapittelets tittel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C0FEBC7-3E7F-4DCB-B8BD-C094F96491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0AF96A3C-BADD-47E8-80A5-E96544A6C10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FC744FD0-7D08-408B-A97D-A4C4406E03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06745" y="2428390"/>
            <a:ext cx="4861689" cy="3002757"/>
          </a:xfrm>
        </p:spPr>
        <p:txBody>
          <a:bodyPr>
            <a:normAutofit/>
          </a:bodyPr>
          <a:lstStyle>
            <a:lvl1pPr marL="361950" indent="-361950">
              <a:lnSpc>
                <a:spcPct val="100000"/>
              </a:lnSpc>
              <a:spcBef>
                <a:spcPts val="750"/>
              </a:spcBef>
              <a:buClr>
                <a:schemeClr val="accent6"/>
              </a:buClr>
              <a:buFont typeface="Arial" panose="020B0604020202020204" pitchFamily="34" charset="0"/>
              <a:buChar char="●"/>
              <a:defRPr sz="2800" b="1">
                <a:solidFill>
                  <a:schemeClr val="lt1"/>
                </a:solidFill>
              </a:defRPr>
            </a:lvl1pPr>
            <a:lvl2pPr marL="457040" indent="0">
              <a:buNone/>
              <a:defRPr/>
            </a:lvl2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B31E833D-6CEF-47AF-A842-08013A6181B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682247" y="6096768"/>
            <a:ext cx="509753" cy="509588"/>
          </a:xfrm>
          <a:prstGeom prst="rect">
            <a:avLst/>
          </a:prstGeom>
        </p:spPr>
      </p:pic>
      <p:cxnSp>
        <p:nvCxnSpPr>
          <p:cNvPr id="12" name="Rett linje 11">
            <a:extLst>
              <a:ext uri="{FF2B5EF4-FFF2-40B4-BE49-F238E27FC236}">
                <a16:creationId xmlns:a16="http://schemas.microsoft.com/office/drawing/2014/main" id="{635C25F5-BB3E-4579-BA5A-D3E2FDFADE03}"/>
              </a:ext>
            </a:extLst>
          </p:cNvPr>
          <p:cNvCxnSpPr/>
          <p:nvPr userDrawn="1"/>
        </p:nvCxnSpPr>
        <p:spPr>
          <a:xfrm>
            <a:off x="11326075" y="6230128"/>
            <a:ext cx="0" cy="241200"/>
          </a:xfrm>
          <a:prstGeom prst="line">
            <a:avLst/>
          </a:prstGeom>
          <a:ln w="12700">
            <a:solidFill>
              <a:schemeClr val="l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09296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225" y="479337"/>
            <a:ext cx="11178038" cy="775597"/>
          </a:xfr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224" y="1657985"/>
            <a:ext cx="11178038" cy="4351338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42F2B383-5B5F-564B-9152-AA680F350106}" type="datetime1">
              <a:t>06.06.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en-GB"/>
              <a:t>Presentasjonens eller kapittelets titt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C6A6BCC-FF39-42D9-ACE8-4D7C3119893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848246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225" y="479337"/>
            <a:ext cx="11175586" cy="7755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0CA036AB-89AC-A141-94C9-164CA1F0E8F3}" type="datetime1">
              <a:t>06.06.2024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en-GB"/>
              <a:t>Presentasjonens eller kapittelets titt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C6A6BCC-FF39-42D9-ACE8-4D7C31198930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D8986FE9-895D-44E7-8B0C-A530625962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8225" y="1657985"/>
            <a:ext cx="5365747" cy="4351338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330E2F7-1E79-49FF-B1F3-FBCC459D6A8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8064" y="1657985"/>
            <a:ext cx="5365747" cy="4351338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98312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22C1A7E-B947-495D-A669-27690D30865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8225" y="2809125"/>
            <a:ext cx="5587775" cy="609398"/>
          </a:xfrm>
        </p:spPr>
        <p:txBody>
          <a:bodyPr wrap="square" anchor="b">
            <a:spAutoFit/>
          </a:bodyPr>
          <a:lstStyle>
            <a:lvl1pPr algn="l">
              <a:defRPr sz="4399" b="1">
                <a:solidFill>
                  <a:schemeClr val="lt1"/>
                </a:solidFill>
              </a:defRPr>
            </a:lvl1pPr>
          </a:lstStyle>
          <a:p>
            <a:r>
              <a:rPr lang="nb-NO"/>
              <a:t>Navn </a:t>
            </a:r>
            <a:r>
              <a:rPr lang="nb-NO" err="1"/>
              <a:t>Navnesen</a:t>
            </a:r>
            <a:endParaRPr lang="en-GB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1CDE6D00-3DD7-419A-8BCF-D34774BD7FE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8225" y="3632519"/>
            <a:ext cx="5587775" cy="861775"/>
          </a:xfrm>
        </p:spPr>
        <p:txBody>
          <a:bodyPr wrap="square">
            <a:spAutoFit/>
          </a:bodyPr>
          <a:lstStyle>
            <a:lvl1pPr marL="0" indent="0" algn="l">
              <a:buNone/>
              <a:defRPr sz="2799" b="0">
                <a:solidFill>
                  <a:schemeClr val="lt1"/>
                </a:solidFill>
              </a:defRPr>
            </a:lvl1pPr>
            <a:lvl2pPr marL="228520" indent="0" algn="ctr">
              <a:buNone/>
              <a:defRPr sz="999"/>
            </a:lvl2pPr>
            <a:lvl3pPr marL="457040" indent="0" algn="ctr">
              <a:buNone/>
              <a:defRPr sz="899"/>
            </a:lvl3pPr>
            <a:lvl4pPr marL="685560" indent="0" algn="ctr">
              <a:buNone/>
              <a:defRPr sz="800"/>
            </a:lvl4pPr>
            <a:lvl5pPr marL="914080" indent="0" algn="ctr">
              <a:buNone/>
              <a:defRPr sz="800"/>
            </a:lvl5pPr>
            <a:lvl6pPr marL="1142600" indent="0" algn="ctr">
              <a:buNone/>
              <a:defRPr sz="800"/>
            </a:lvl6pPr>
            <a:lvl7pPr marL="1371120" indent="0" algn="ctr">
              <a:buNone/>
              <a:defRPr sz="800"/>
            </a:lvl7pPr>
            <a:lvl8pPr marL="1599640" indent="0" algn="ctr">
              <a:buNone/>
              <a:defRPr sz="800"/>
            </a:lvl8pPr>
            <a:lvl9pPr marL="1828160" indent="0" algn="ctr">
              <a:buNone/>
              <a:defRPr sz="800"/>
            </a:lvl9pPr>
          </a:lstStyle>
          <a:p>
            <a:r>
              <a:rPr lang="nb-NO"/>
              <a:t>Klikk for å redigere undertittelstil i malen</a:t>
            </a:r>
            <a:endParaRPr lang="en-GB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E88278C5-46EE-42FF-A314-3D68F530EAA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/>
          <a:lstStyle/>
          <a:p>
            <a:fld id="{3129ECF1-F0D3-4CD8-9C78-0C81B2D5F5E5}" type="datetimeFigureOut">
              <a:rPr lang="nb-NO" smtClean="0"/>
              <a:t>06.06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1F1DF95-9059-4F80-8961-9E17A1EE9C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C0FEBC7-3E7F-4DCB-B8BD-C094F96491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4409EF66-46AA-4080-844D-5B92F1A6B3C3}" type="slidenum">
              <a:rPr lang="nb-NO" smtClean="0"/>
              <a:t>‹#›</a:t>
            </a:fld>
            <a:endParaRPr lang="nb-NO"/>
          </a:p>
        </p:txBody>
      </p:sp>
      <p:sp>
        <p:nvSpPr>
          <p:cNvPr id="14" name="Plassholder for bilde 13">
            <a:extLst>
              <a:ext uri="{FF2B5EF4-FFF2-40B4-BE49-F238E27FC236}">
                <a16:creationId xmlns:a16="http://schemas.microsoft.com/office/drawing/2014/main" id="{8DC9D736-C99A-442F-987A-C1875C8EFB5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06979" y="1143143"/>
            <a:ext cx="4573489" cy="4572000"/>
          </a:xfrm>
          <a:custGeom>
            <a:avLst/>
            <a:gdLst>
              <a:gd name="connsiteX0" fmla="*/ 4572000 w 9144000"/>
              <a:gd name="connsiteY0" fmla="*/ 0 h 9144000"/>
              <a:gd name="connsiteX1" fmla="*/ 5039460 w 9144000"/>
              <a:gd name="connsiteY1" fmla="*/ 23605 h 9144000"/>
              <a:gd name="connsiteX2" fmla="*/ 5061772 w 9144000"/>
              <a:gd name="connsiteY2" fmla="*/ 26440 h 9144000"/>
              <a:gd name="connsiteX3" fmla="*/ 5204330 w 9144000"/>
              <a:gd name="connsiteY3" fmla="*/ 183293 h 9144000"/>
              <a:gd name="connsiteX4" fmla="*/ 7494182 w 9144000"/>
              <a:gd name="connsiteY4" fmla="*/ 1201670 h 9144000"/>
              <a:gd name="connsiteX5" fmla="*/ 7665276 w 9144000"/>
              <a:gd name="connsiteY5" fmla="*/ 1205996 h 9144000"/>
              <a:gd name="connsiteX6" fmla="*/ 7804892 w 9144000"/>
              <a:gd name="connsiteY6" fmla="*/ 1339108 h 9144000"/>
              <a:gd name="connsiteX7" fmla="*/ 9144000 w 9144000"/>
              <a:gd name="connsiteY7" fmla="*/ 4572000 h 9144000"/>
              <a:gd name="connsiteX8" fmla="*/ 4572000 w 9144000"/>
              <a:gd name="connsiteY8" fmla="*/ 9144000 h 9144000"/>
              <a:gd name="connsiteX9" fmla="*/ 0 w 9144000"/>
              <a:gd name="connsiteY9" fmla="*/ 4572000 h 9144000"/>
              <a:gd name="connsiteX10" fmla="*/ 4572000 w 9144000"/>
              <a:gd name="connsiteY10" fmla="*/ 0 h 91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144000" h="9144000">
                <a:moveTo>
                  <a:pt x="4572000" y="0"/>
                </a:moveTo>
                <a:cubicBezTo>
                  <a:pt x="4729816" y="0"/>
                  <a:pt x="4885764" y="7996"/>
                  <a:pt x="5039460" y="23605"/>
                </a:cubicBezTo>
                <a:lnTo>
                  <a:pt x="5061772" y="26440"/>
                </a:lnTo>
                <a:lnTo>
                  <a:pt x="5204330" y="183293"/>
                </a:lnTo>
                <a:cubicBezTo>
                  <a:pt x="5796844" y="775807"/>
                  <a:pt x="6601272" y="1156409"/>
                  <a:pt x="7494182" y="1201670"/>
                </a:cubicBezTo>
                <a:lnTo>
                  <a:pt x="7665276" y="1205996"/>
                </a:lnTo>
                <a:lnTo>
                  <a:pt x="7804892" y="1339108"/>
                </a:lnTo>
                <a:cubicBezTo>
                  <a:pt x="8632262" y="2166477"/>
                  <a:pt x="9144000" y="3309477"/>
                  <a:pt x="9144000" y="4572000"/>
                </a:cubicBezTo>
                <a:cubicBezTo>
                  <a:pt x="9144000" y="7097046"/>
                  <a:pt x="7097046" y="9144000"/>
                  <a:pt x="4572000" y="9144000"/>
                </a:cubicBezTo>
                <a:cubicBezTo>
                  <a:pt x="2046954" y="9144000"/>
                  <a:pt x="0" y="7097046"/>
                  <a:pt x="0" y="4572000"/>
                </a:cubicBezTo>
                <a:cubicBezTo>
                  <a:pt x="0" y="2046954"/>
                  <a:pt x="2046954" y="0"/>
                  <a:pt x="4572000" y="0"/>
                </a:cubicBezTo>
                <a:close/>
              </a:path>
            </a:pathLst>
          </a:cu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10" name="Frihåndsform: figur 9">
            <a:extLst>
              <a:ext uri="{FF2B5EF4-FFF2-40B4-BE49-F238E27FC236}">
                <a16:creationId xmlns:a16="http://schemas.microsoft.com/office/drawing/2014/main" id="{B7C7F050-1572-4C45-99BD-7CB7B1EB94B5}"/>
              </a:ext>
            </a:extLst>
          </p:cNvPr>
          <p:cNvSpPr/>
          <p:nvPr/>
        </p:nvSpPr>
        <p:spPr>
          <a:xfrm>
            <a:off x="8698362" y="0"/>
            <a:ext cx="3493637" cy="1746250"/>
          </a:xfrm>
          <a:custGeom>
            <a:avLst/>
            <a:gdLst>
              <a:gd name="connsiteX0" fmla="*/ 0 w 6985000"/>
              <a:gd name="connsiteY0" fmla="*/ 0 h 3492500"/>
              <a:gd name="connsiteX1" fmla="*/ 3492500 w 6985000"/>
              <a:gd name="connsiteY1" fmla="*/ 3492500 h 3492500"/>
              <a:gd name="connsiteX2" fmla="*/ 6985000 w 6985000"/>
              <a:gd name="connsiteY2" fmla="*/ 0 h 3492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985000" h="3492500">
                <a:moveTo>
                  <a:pt x="0" y="0"/>
                </a:moveTo>
                <a:cubicBezTo>
                  <a:pt x="0" y="1928876"/>
                  <a:pt x="1563624" y="3492500"/>
                  <a:pt x="3492500" y="3492500"/>
                </a:cubicBezTo>
                <a:cubicBezTo>
                  <a:pt x="5421376" y="3492500"/>
                  <a:pt x="6985000" y="1928876"/>
                  <a:pt x="6985000" y="0"/>
                </a:cubicBezTo>
                <a:close/>
              </a:path>
            </a:pathLst>
          </a:custGeom>
          <a:solidFill>
            <a:srgbClr val="FCD300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899"/>
          </a:p>
        </p:txBody>
      </p:sp>
      <p:sp>
        <p:nvSpPr>
          <p:cNvPr id="12" name="Frihåndsform: figur 11">
            <a:extLst>
              <a:ext uri="{FF2B5EF4-FFF2-40B4-BE49-F238E27FC236}">
                <a16:creationId xmlns:a16="http://schemas.microsoft.com/office/drawing/2014/main" id="{6F4E354F-6224-450E-9D3D-4C5D0BCF0EDD}"/>
              </a:ext>
            </a:extLst>
          </p:cNvPr>
          <p:cNvSpPr/>
          <p:nvPr/>
        </p:nvSpPr>
        <p:spPr>
          <a:xfrm>
            <a:off x="-3969" y="5111750"/>
            <a:ext cx="1746819" cy="1746250"/>
          </a:xfrm>
          <a:custGeom>
            <a:avLst/>
            <a:gdLst>
              <a:gd name="connsiteX0" fmla="*/ 3492500 w 3492500"/>
              <a:gd name="connsiteY0" fmla="*/ 3492500 h 3492500"/>
              <a:gd name="connsiteX1" fmla="*/ 0 w 3492500"/>
              <a:gd name="connsiteY1" fmla="*/ 0 h 3492500"/>
              <a:gd name="connsiteX2" fmla="*/ 0 w 3492500"/>
              <a:gd name="connsiteY2" fmla="*/ 3492500 h 3492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2500" h="3492500">
                <a:moveTo>
                  <a:pt x="3492500" y="3492500"/>
                </a:moveTo>
                <a:cubicBezTo>
                  <a:pt x="3492500" y="1563624"/>
                  <a:pt x="1928876" y="0"/>
                  <a:pt x="0" y="0"/>
                </a:cubicBezTo>
                <a:lnTo>
                  <a:pt x="0" y="3492500"/>
                </a:lnTo>
                <a:close/>
              </a:path>
            </a:pathLst>
          </a:custGeom>
          <a:solidFill>
            <a:srgbClr val="FCD300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899"/>
          </a:p>
        </p:txBody>
      </p:sp>
    </p:spTree>
    <p:extLst>
      <p:ext uri="{BB962C8B-B14F-4D97-AF65-F5344CB8AC3E}">
        <p14:creationId xmlns:p14="http://schemas.microsoft.com/office/powerpoint/2010/main" val="8705419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225" y="479337"/>
            <a:ext cx="11178038" cy="775597"/>
          </a:xfr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42D27550-46F9-1845-B2BE-058D978A8BC4}" type="datetime1">
              <a:t>06.06.2024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en-GB"/>
              <a:t>Presentasjonens eller kapittelets titt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C6A6BCC-FF39-42D9-ACE8-4D7C31198930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D8986FE9-895D-44E7-8B0C-A530625962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8225" y="1657985"/>
            <a:ext cx="3457125" cy="4351338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330E2F7-1E79-49FF-B1F3-FBCC459D6A8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8682" y="1657985"/>
            <a:ext cx="3457125" cy="4351338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8FFA8EC-5381-431A-A353-70E1893665E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29138" y="1657985"/>
            <a:ext cx="3457125" cy="4351338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888221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 vens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6962" y="479337"/>
            <a:ext cx="4795863" cy="775597"/>
          </a:xfrm>
        </p:spPr>
        <p:txBody>
          <a:bodyPr lIns="0" tIns="0" rIns="0" bIns="0"/>
          <a:lstStyle>
            <a:lvl1pPr algn="r">
              <a:defRPr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56961" y="1657985"/>
            <a:ext cx="4795862" cy="4351338"/>
          </a:xfrm>
        </p:spPr>
        <p:txBody>
          <a:bodyPr lIns="0" tIns="0" rIns="0" bIns="0"/>
          <a:lstStyle>
            <a:lvl1pPr marL="0" indent="0" algn="r">
              <a:buNone/>
              <a:defRPr/>
            </a:lvl1pPr>
            <a:lvl2pPr marL="457040" indent="0" algn="r">
              <a:buNone/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A31B4513-2579-B24B-BFC6-6082766986E9}" type="datetime1">
              <a:t>06.06.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en-GB"/>
              <a:t>Presentasjonens eller kapittelets titt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C6A6BCC-FF39-42D9-ACE8-4D7C31198930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Plassholder for bilde 10">
            <a:extLst>
              <a:ext uri="{FF2B5EF4-FFF2-40B4-BE49-F238E27FC236}">
                <a16:creationId xmlns:a16="http://schemas.microsoft.com/office/drawing/2014/main" id="{DAE6DE27-3EBD-4DDC-B23B-4C9991C4A14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54113" y="254029"/>
            <a:ext cx="5717221" cy="6350400"/>
          </a:xfrm>
          <a:prstGeom prst="roundRect">
            <a:avLst>
              <a:gd name="adj" fmla="val 2216"/>
            </a:avLst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049878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to bilder vens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6962" y="479337"/>
            <a:ext cx="4795863" cy="775597"/>
          </a:xfrm>
        </p:spPr>
        <p:txBody>
          <a:bodyPr lIns="0" tIns="0" rIns="0" bIns="0"/>
          <a:lstStyle>
            <a:lvl1pPr algn="r">
              <a:defRPr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56961" y="1657985"/>
            <a:ext cx="4795862" cy="4351338"/>
          </a:xfrm>
        </p:spPr>
        <p:txBody>
          <a:bodyPr lIns="0" tIns="0" rIns="0" bIns="0"/>
          <a:lstStyle>
            <a:lvl1pPr marL="0" indent="0" algn="r">
              <a:buNone/>
              <a:defRPr/>
            </a:lvl1pPr>
            <a:lvl2pPr marL="457040" indent="0" algn="r">
              <a:buNone/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E53D9CD0-CF6A-DC40-AE16-33ECFD863B0E}" type="datetime1">
              <a:t>06.06.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en-GB"/>
              <a:t>Presentasjonens eller kapittelets titt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C6A6BCC-FF39-42D9-ACE8-4D7C31198930}" type="slidenum">
              <a:rPr lang="en-GB" smtClean="0"/>
              <a:t>‹#›</a:t>
            </a:fld>
            <a:endParaRPr lang="en-GB"/>
          </a:p>
        </p:txBody>
      </p:sp>
      <p:sp>
        <p:nvSpPr>
          <p:cNvPr id="13" name="Plassholder for bilde 10">
            <a:extLst>
              <a:ext uri="{FF2B5EF4-FFF2-40B4-BE49-F238E27FC236}">
                <a16:creationId xmlns:a16="http://schemas.microsoft.com/office/drawing/2014/main" id="{D4F8CD3F-A2C3-4DD6-92A0-C47DB8B0972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54113" y="254029"/>
            <a:ext cx="2795086" cy="6350400"/>
          </a:xfrm>
          <a:prstGeom prst="roundRect">
            <a:avLst>
              <a:gd name="adj" fmla="val 4670"/>
            </a:avLst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14" name="Plassholder for bilde 10">
            <a:extLst>
              <a:ext uri="{FF2B5EF4-FFF2-40B4-BE49-F238E27FC236}">
                <a16:creationId xmlns:a16="http://schemas.microsoft.com/office/drawing/2014/main" id="{859D9760-8ED2-4609-A387-EA80109D6A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176248" y="253800"/>
            <a:ext cx="2795086" cy="6350400"/>
          </a:xfrm>
          <a:prstGeom prst="roundRect">
            <a:avLst>
              <a:gd name="adj" fmla="val 4670"/>
            </a:avLst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272726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innholdsdel grøn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2198" y="261706"/>
            <a:ext cx="3710664" cy="6349891"/>
          </a:xfrm>
          <a:prstGeom prst="roundRect">
            <a:avLst>
              <a:gd name="adj" fmla="val 3930"/>
            </a:avLst>
          </a:prstGeom>
          <a:solidFill>
            <a:schemeClr val="tx2"/>
          </a:solidFill>
          <a:ln>
            <a:noFill/>
          </a:ln>
          <a:effectLst/>
        </p:spPr>
        <p:txBody>
          <a:bodyPr lIns="810000" tIns="810000" rIns="810000" bIns="81000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42D27550-46F9-1845-B2BE-058D978A8BC4}" type="datetime1">
              <a:t>06.06.2024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en-GB"/>
              <a:t>Presentasjonens eller kapittelets titt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C6A6BCC-FF39-42D9-ACE8-4D7C31198930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330E2F7-1E79-49FF-B1F3-FBCC459D6A8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8681" y="869429"/>
            <a:ext cx="7317582" cy="5139894"/>
          </a:xfrm>
        </p:spPr>
        <p:txBody>
          <a:bodyPr lIns="0" tIns="0" rIns="0" bIns="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929237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grøn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2198" y="261706"/>
            <a:ext cx="3710665" cy="6349891"/>
          </a:xfrm>
          <a:prstGeom prst="roundRect">
            <a:avLst>
              <a:gd name="adj" fmla="val 3938"/>
            </a:avLst>
          </a:prstGeom>
          <a:solidFill>
            <a:schemeClr val="bg2"/>
          </a:solidFill>
        </p:spPr>
        <p:txBody>
          <a:bodyPr lIns="810000" tIns="810000" rIns="810000" bIns="810000" anchor="ctr">
            <a:noAutofit/>
          </a:bodyPr>
          <a:lstStyle>
            <a:lvl1pPr algn="ctr">
              <a:defRPr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42D27550-46F9-1845-B2BE-058D978A8BC4}" type="datetime1">
              <a:t>06.06.2024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Presentasjonens eller kapittelets titt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C6A6BCC-FF39-42D9-ACE8-4D7C3119893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330E2F7-1E79-49FF-B1F3-FBCC459D6A8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8682" y="869429"/>
            <a:ext cx="3457125" cy="5139894"/>
          </a:xfr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8FFA8EC-5381-431A-A353-70E1893665E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29138" y="869429"/>
            <a:ext cx="3457125" cy="5139894"/>
          </a:xfr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07691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ingress og innho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5873912-88E1-8E4D-A15D-7A25F20760E2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45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22C1A7E-B947-495D-A669-27690D3086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8226" y="870028"/>
            <a:ext cx="5365711" cy="1104982"/>
          </a:xfrm>
        </p:spPr>
        <p:txBody>
          <a:bodyPr wrap="square" anchor="t">
            <a:normAutofit/>
          </a:bodyPr>
          <a:lstStyle>
            <a:lvl1pPr algn="l">
              <a:defRPr sz="2800" b="1">
                <a:solidFill>
                  <a:schemeClr val="bg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1CDE6D00-3DD7-419A-8BCF-D34774BD7FE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8226" y="2378061"/>
            <a:ext cx="5365711" cy="3631262"/>
          </a:xfrm>
        </p:spPr>
        <p:txBody>
          <a:bodyPr wrap="square">
            <a:normAutofit/>
          </a:bodyPr>
          <a:lstStyle>
            <a:lvl1pPr marL="0" indent="0" algn="l">
              <a:buNone/>
              <a:defRPr sz="2300" b="0">
                <a:solidFill>
                  <a:schemeClr val="bg2"/>
                </a:solidFill>
              </a:defRPr>
            </a:lvl1pPr>
            <a:lvl2pPr marL="228600" indent="0" algn="ctr">
              <a:buNone/>
              <a:defRPr sz="1000"/>
            </a:lvl2pPr>
            <a:lvl3pPr marL="457200" indent="0" algn="ctr">
              <a:buNone/>
              <a:defRPr sz="900"/>
            </a:lvl3pPr>
            <a:lvl4pPr marL="685800" indent="0" algn="ctr">
              <a:buNone/>
              <a:defRPr sz="800"/>
            </a:lvl4pPr>
            <a:lvl5pPr marL="914400" indent="0" algn="ctr">
              <a:buNone/>
              <a:defRPr sz="800"/>
            </a:lvl5pPr>
            <a:lvl6pPr marL="1143000" indent="0" algn="ctr">
              <a:buNone/>
              <a:defRPr sz="800"/>
            </a:lvl6pPr>
            <a:lvl7pPr marL="1371600" indent="0" algn="ctr">
              <a:buNone/>
              <a:defRPr sz="800"/>
            </a:lvl7pPr>
            <a:lvl8pPr marL="1600200" indent="0" algn="ctr">
              <a:buNone/>
              <a:defRPr sz="800"/>
            </a:lvl8pPr>
            <a:lvl9pPr marL="1828800" indent="0" algn="ctr">
              <a:buNone/>
              <a:defRPr sz="800"/>
            </a:lvl9pPr>
          </a:lstStyle>
          <a:p>
            <a:r>
              <a:rPr lang="nb-NO"/>
              <a:t>Klikk for å redigere undertittelstil i malen</a:t>
            </a:r>
            <a:endParaRPr lang="en-GB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E88278C5-46EE-42FF-A314-3D68F530EAA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/>
          <a:lstStyle/>
          <a:p>
            <a:fld id="{9C6C1255-2D22-3047-905C-F76DBFC2756B}" type="datetime1">
              <a:t>06.06.2024</a:t>
            </a:fld>
            <a:endParaRPr lang="en-GB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1F1DF95-9059-4F80-8961-9E17A1EE9C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en-GB"/>
              <a:t>Presentasjonens eller kapittelets tittel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C0FEBC7-3E7F-4DCB-B8BD-C094F96491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0AF96A3C-BADD-47E8-80A5-E96544A6C10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DEDB38B-0C67-F44A-A6D6-F484BBE3F17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18064" y="885101"/>
            <a:ext cx="5365711" cy="5124222"/>
          </a:xfrm>
        </p:spPr>
        <p:txBody>
          <a:bodyPr/>
          <a:lstStyle>
            <a:lvl1pPr>
              <a:buClr>
                <a:schemeClr val="tx2">
                  <a:lumMod val="75000"/>
                </a:schemeClr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2">
                  <a:lumMod val="75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2">
                  <a:lumMod val="75000"/>
                </a:schemeClr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2">
                  <a:lumMod val="75000"/>
                </a:schemeClr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2">
                  <a:lumMod val="75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28301751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de i sirke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ihåndsform: figur 11">
            <a:extLst>
              <a:ext uri="{FF2B5EF4-FFF2-40B4-BE49-F238E27FC236}">
                <a16:creationId xmlns:a16="http://schemas.microsoft.com/office/drawing/2014/main" id="{24A9FBBE-2F10-9442-8689-2E10D4BCB610}"/>
              </a:ext>
            </a:extLst>
          </p:cNvPr>
          <p:cNvSpPr/>
          <p:nvPr userDrawn="1"/>
        </p:nvSpPr>
        <p:spPr>
          <a:xfrm>
            <a:off x="6096713" y="5111750"/>
            <a:ext cx="1746819" cy="1746250"/>
          </a:xfrm>
          <a:custGeom>
            <a:avLst/>
            <a:gdLst>
              <a:gd name="connsiteX0" fmla="*/ 3492500 w 3492500"/>
              <a:gd name="connsiteY0" fmla="*/ 3492500 h 3492500"/>
              <a:gd name="connsiteX1" fmla="*/ 0 w 3492500"/>
              <a:gd name="connsiteY1" fmla="*/ 0 h 3492500"/>
              <a:gd name="connsiteX2" fmla="*/ 0 w 3492500"/>
              <a:gd name="connsiteY2" fmla="*/ 3492500 h 3492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2500" h="3492500">
                <a:moveTo>
                  <a:pt x="3492500" y="3492500"/>
                </a:moveTo>
                <a:cubicBezTo>
                  <a:pt x="3492500" y="1563624"/>
                  <a:pt x="1928876" y="0"/>
                  <a:pt x="0" y="0"/>
                </a:cubicBezTo>
                <a:lnTo>
                  <a:pt x="0" y="3492500"/>
                </a:lnTo>
                <a:close/>
              </a:path>
            </a:pathLst>
          </a:custGeom>
          <a:solidFill>
            <a:schemeClr val="tx2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45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1B8B917-DC59-5D48-B991-7E2B9BD4910F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45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475CFC-B838-B242-95A1-DF46829B7DD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8225" y="2378061"/>
            <a:ext cx="5365711" cy="3631263"/>
          </a:xfrm>
        </p:spPr>
        <p:txBody>
          <a:bodyPr/>
          <a:lstStyle>
            <a:lvl1pPr>
              <a:buClr>
                <a:schemeClr val="tx2">
                  <a:lumMod val="75000"/>
                </a:schemeClr>
              </a:buClr>
              <a:defRPr/>
            </a:lvl1pPr>
            <a:lvl2pPr>
              <a:buClr>
                <a:schemeClr val="tx2">
                  <a:lumMod val="75000"/>
                </a:schemeClr>
              </a:buClr>
              <a:defRPr/>
            </a:lvl2pPr>
            <a:lvl3pPr>
              <a:buClr>
                <a:schemeClr val="tx2">
                  <a:lumMod val="75000"/>
                </a:schemeClr>
              </a:buClr>
              <a:defRPr/>
            </a:lvl3pPr>
            <a:lvl4pPr>
              <a:buClr>
                <a:schemeClr val="tx2">
                  <a:lumMod val="75000"/>
                </a:schemeClr>
              </a:buClr>
              <a:defRPr/>
            </a:lvl4pPr>
            <a:lvl5pPr>
              <a:buClr>
                <a:schemeClr val="tx2">
                  <a:lumMod val="75000"/>
                </a:schemeClr>
              </a:buCl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22C1A7E-B947-495D-A669-27690D3086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8226" y="882514"/>
            <a:ext cx="5365711" cy="1092496"/>
          </a:xfrm>
        </p:spPr>
        <p:txBody>
          <a:bodyPr wrap="square" anchor="t">
            <a:normAutofit/>
          </a:bodyPr>
          <a:lstStyle>
            <a:lvl1pPr algn="l">
              <a:defRPr sz="2800" b="1">
                <a:solidFill>
                  <a:schemeClr val="bg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E88278C5-46EE-42FF-A314-3D68F530EAA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/>
          <a:lstStyle/>
          <a:p>
            <a:fld id="{9C6C1255-2D22-3047-905C-F76DBFC2756B}" type="datetime1">
              <a:t>06.06.2024</a:t>
            </a:fld>
            <a:endParaRPr lang="en-GB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1F1DF95-9059-4F80-8961-9E17A1EE9C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en-GB"/>
              <a:t>Presentasjonens eller kapittelets tittel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C0FEBC7-3E7F-4DCB-B8BD-C094F96491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0AF96A3C-BADD-47E8-80A5-E96544A6C10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Plassholder for bilde 13">
            <a:extLst>
              <a:ext uri="{FF2B5EF4-FFF2-40B4-BE49-F238E27FC236}">
                <a16:creationId xmlns:a16="http://schemas.microsoft.com/office/drawing/2014/main" id="{8DC9D736-C99A-442F-987A-C1875C8EFB5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06978" y="1143143"/>
            <a:ext cx="4573489" cy="4572000"/>
          </a:xfrm>
          <a:custGeom>
            <a:avLst/>
            <a:gdLst>
              <a:gd name="connsiteX0" fmla="*/ 4572000 w 9144000"/>
              <a:gd name="connsiteY0" fmla="*/ 0 h 9144000"/>
              <a:gd name="connsiteX1" fmla="*/ 5039460 w 9144000"/>
              <a:gd name="connsiteY1" fmla="*/ 23605 h 9144000"/>
              <a:gd name="connsiteX2" fmla="*/ 5061772 w 9144000"/>
              <a:gd name="connsiteY2" fmla="*/ 26440 h 9144000"/>
              <a:gd name="connsiteX3" fmla="*/ 5204330 w 9144000"/>
              <a:gd name="connsiteY3" fmla="*/ 183293 h 9144000"/>
              <a:gd name="connsiteX4" fmla="*/ 7494182 w 9144000"/>
              <a:gd name="connsiteY4" fmla="*/ 1201670 h 9144000"/>
              <a:gd name="connsiteX5" fmla="*/ 7665276 w 9144000"/>
              <a:gd name="connsiteY5" fmla="*/ 1205996 h 9144000"/>
              <a:gd name="connsiteX6" fmla="*/ 7804892 w 9144000"/>
              <a:gd name="connsiteY6" fmla="*/ 1339108 h 9144000"/>
              <a:gd name="connsiteX7" fmla="*/ 9144000 w 9144000"/>
              <a:gd name="connsiteY7" fmla="*/ 4572000 h 9144000"/>
              <a:gd name="connsiteX8" fmla="*/ 4572000 w 9144000"/>
              <a:gd name="connsiteY8" fmla="*/ 9144000 h 9144000"/>
              <a:gd name="connsiteX9" fmla="*/ 0 w 9144000"/>
              <a:gd name="connsiteY9" fmla="*/ 4572000 h 9144000"/>
              <a:gd name="connsiteX10" fmla="*/ 4572000 w 9144000"/>
              <a:gd name="connsiteY10" fmla="*/ 0 h 91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144000" h="9144000">
                <a:moveTo>
                  <a:pt x="4572000" y="0"/>
                </a:moveTo>
                <a:cubicBezTo>
                  <a:pt x="4729816" y="0"/>
                  <a:pt x="4885764" y="7996"/>
                  <a:pt x="5039460" y="23605"/>
                </a:cubicBezTo>
                <a:lnTo>
                  <a:pt x="5061772" y="26440"/>
                </a:lnTo>
                <a:lnTo>
                  <a:pt x="5204330" y="183293"/>
                </a:lnTo>
                <a:cubicBezTo>
                  <a:pt x="5796844" y="775807"/>
                  <a:pt x="6601272" y="1156409"/>
                  <a:pt x="7494182" y="1201670"/>
                </a:cubicBezTo>
                <a:lnTo>
                  <a:pt x="7665276" y="1205996"/>
                </a:lnTo>
                <a:lnTo>
                  <a:pt x="7804892" y="1339108"/>
                </a:lnTo>
                <a:cubicBezTo>
                  <a:pt x="8632262" y="2166477"/>
                  <a:pt x="9144000" y="3309477"/>
                  <a:pt x="9144000" y="4572000"/>
                </a:cubicBezTo>
                <a:cubicBezTo>
                  <a:pt x="9144000" y="7097046"/>
                  <a:pt x="7097046" y="9144000"/>
                  <a:pt x="4572000" y="9144000"/>
                </a:cubicBezTo>
                <a:cubicBezTo>
                  <a:pt x="2046954" y="9144000"/>
                  <a:pt x="0" y="7097046"/>
                  <a:pt x="0" y="4572000"/>
                </a:cubicBezTo>
                <a:cubicBezTo>
                  <a:pt x="0" y="2046954"/>
                  <a:pt x="2046954" y="0"/>
                  <a:pt x="457200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10" name="Frihåndsform: figur 9">
            <a:extLst>
              <a:ext uri="{FF2B5EF4-FFF2-40B4-BE49-F238E27FC236}">
                <a16:creationId xmlns:a16="http://schemas.microsoft.com/office/drawing/2014/main" id="{B7C7F050-1572-4C45-99BD-7CB7B1EB94B5}"/>
              </a:ext>
            </a:extLst>
          </p:cNvPr>
          <p:cNvSpPr/>
          <p:nvPr/>
        </p:nvSpPr>
        <p:spPr>
          <a:xfrm>
            <a:off x="8698362" y="0"/>
            <a:ext cx="3493637" cy="1746250"/>
          </a:xfrm>
          <a:custGeom>
            <a:avLst/>
            <a:gdLst>
              <a:gd name="connsiteX0" fmla="*/ 0 w 6985000"/>
              <a:gd name="connsiteY0" fmla="*/ 0 h 3492500"/>
              <a:gd name="connsiteX1" fmla="*/ 3492500 w 6985000"/>
              <a:gd name="connsiteY1" fmla="*/ 3492500 h 3492500"/>
              <a:gd name="connsiteX2" fmla="*/ 6985000 w 6985000"/>
              <a:gd name="connsiteY2" fmla="*/ 0 h 3492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985000" h="3492500">
                <a:moveTo>
                  <a:pt x="0" y="0"/>
                </a:moveTo>
                <a:cubicBezTo>
                  <a:pt x="0" y="1928876"/>
                  <a:pt x="1563624" y="3492500"/>
                  <a:pt x="3492500" y="3492500"/>
                </a:cubicBezTo>
                <a:cubicBezTo>
                  <a:pt x="5421376" y="3492500"/>
                  <a:pt x="6985000" y="1928876"/>
                  <a:pt x="6985000" y="0"/>
                </a:cubicBezTo>
                <a:close/>
              </a:path>
            </a:pathLst>
          </a:custGeom>
          <a:solidFill>
            <a:schemeClr val="tx2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450"/>
          </a:p>
        </p:txBody>
      </p:sp>
    </p:spTree>
    <p:extLst>
      <p:ext uri="{BB962C8B-B14F-4D97-AF65-F5344CB8AC3E}">
        <p14:creationId xmlns:p14="http://schemas.microsoft.com/office/powerpoint/2010/main" val="36792387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bil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357E21F2-F8F0-2345-8529-B8D7623521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345278" y="768585"/>
            <a:ext cx="5335677" cy="353943"/>
          </a:xfrm>
        </p:spPr>
        <p:txBody>
          <a:bodyPr>
            <a:normAutofit/>
          </a:bodyPr>
          <a:lstStyle>
            <a:lvl1pPr marL="0" indent="0" algn="l">
              <a:buClr>
                <a:schemeClr val="bg2">
                  <a:lumMod val="75000"/>
                </a:schemeClr>
              </a:buClr>
              <a:buFont typeface="Arial" panose="020B0604020202020204" pitchFamily="34" charset="0"/>
              <a:buNone/>
              <a:defRPr sz="2300" b="1">
                <a:latin typeface="+mj-lt"/>
              </a:defRPr>
            </a:lvl1pPr>
            <a:lvl2pPr>
              <a:buClr>
                <a:schemeClr val="bg1"/>
              </a:buClr>
              <a:defRPr sz="2300" b="1">
                <a:latin typeface="+mj-lt"/>
              </a:defRPr>
            </a:lvl2pPr>
            <a:lvl3pPr>
              <a:buClr>
                <a:schemeClr val="bg1"/>
              </a:buClr>
              <a:defRPr sz="2300" b="1">
                <a:latin typeface="+mj-lt"/>
              </a:defRPr>
            </a:lvl3pPr>
            <a:lvl4pPr>
              <a:buClr>
                <a:schemeClr val="bg1"/>
              </a:buClr>
              <a:defRPr sz="2300" b="1">
                <a:latin typeface="+mj-lt"/>
              </a:defRPr>
            </a:lvl4pPr>
            <a:lvl5pPr>
              <a:buClr>
                <a:schemeClr val="bg1"/>
              </a:buClr>
              <a:defRPr sz="2300" b="1">
                <a:latin typeface="+mj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952F85C-67B2-224D-9081-363635A4972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08224" y="4201487"/>
            <a:ext cx="5335677" cy="353943"/>
          </a:xfrm>
        </p:spPr>
        <p:txBody>
          <a:bodyPr>
            <a:normAutofit/>
          </a:bodyPr>
          <a:lstStyle>
            <a:lvl1pPr marL="0" indent="0" algn="r">
              <a:buClr>
                <a:schemeClr val="bg2">
                  <a:lumMod val="75000"/>
                </a:schemeClr>
              </a:buClr>
              <a:buFont typeface="Arial" panose="020B0604020202020204" pitchFamily="34" charset="0"/>
              <a:buNone/>
              <a:defRPr sz="2300" b="1">
                <a:latin typeface="+mj-lt"/>
              </a:defRPr>
            </a:lvl1pPr>
            <a:lvl2pPr>
              <a:buClr>
                <a:schemeClr val="bg1"/>
              </a:buClr>
              <a:defRPr sz="2300" b="1">
                <a:latin typeface="+mj-lt"/>
              </a:defRPr>
            </a:lvl2pPr>
            <a:lvl3pPr>
              <a:buClr>
                <a:schemeClr val="bg1"/>
              </a:buClr>
              <a:defRPr sz="2300" b="1">
                <a:latin typeface="+mj-lt"/>
              </a:defRPr>
            </a:lvl3pPr>
            <a:lvl4pPr>
              <a:buClr>
                <a:schemeClr val="bg1"/>
              </a:buClr>
              <a:defRPr sz="2300" b="1">
                <a:latin typeface="+mj-lt"/>
              </a:defRPr>
            </a:lvl4pPr>
            <a:lvl5pPr>
              <a:buClr>
                <a:schemeClr val="bg1"/>
              </a:buClr>
              <a:defRPr sz="2300" b="1">
                <a:latin typeface="+mj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8DC53AC-A5B2-364D-B382-69E60BCB31A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45277" y="1338263"/>
            <a:ext cx="5335677" cy="1290334"/>
          </a:xfrm>
        </p:spPr>
        <p:txBody>
          <a:bodyPr/>
          <a:lstStyle>
            <a:lvl1pPr marL="0" indent="0" algn="l">
              <a:buClr>
                <a:schemeClr val="bg2">
                  <a:lumMod val="75000"/>
                </a:schemeClr>
              </a:buClr>
              <a:buFont typeface="Arial" panose="020B0604020202020204" pitchFamily="34" charset="0"/>
              <a:buNone/>
              <a:defRPr/>
            </a:lvl1pPr>
            <a:lvl2pPr marL="457040" indent="0" algn="l">
              <a:buClr>
                <a:schemeClr val="bg1"/>
              </a:buClr>
              <a:buNone/>
              <a:defRPr/>
            </a:lvl2pPr>
            <a:lvl3pPr marL="914080" indent="0" algn="l">
              <a:buClr>
                <a:schemeClr val="bg1"/>
              </a:buClr>
              <a:buNone/>
              <a:defRPr/>
            </a:lvl3pPr>
            <a:lvl4pPr marL="1371120" indent="0" algn="l">
              <a:buClr>
                <a:schemeClr val="bg1"/>
              </a:buClr>
              <a:buNone/>
              <a:defRPr/>
            </a:lvl4pPr>
            <a:lvl5pPr marL="1828160" indent="0" algn="l">
              <a:buClr>
                <a:schemeClr val="bg1"/>
              </a:buClr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4" name="Plassholder for bilde 10">
            <a:extLst>
              <a:ext uri="{FF2B5EF4-FFF2-40B4-BE49-F238E27FC236}">
                <a16:creationId xmlns:a16="http://schemas.microsoft.com/office/drawing/2014/main" id="{3F7E708B-D066-4A8C-A430-D0A7FD91CC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3429000"/>
            <a:ext cx="6097293" cy="3429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1B4223F4-0147-F641-84A0-66FD34A81A3E}" type="datetime1">
              <a:t>06.06.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en-GB"/>
              <a:t>Presentasjonens eller kapittelets titt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C6A6BCC-FF39-42D9-ACE8-4D7C3119893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2" name="Plassholder for tekst 29">
            <a:extLst>
              <a:ext uri="{FF2B5EF4-FFF2-40B4-BE49-F238E27FC236}">
                <a16:creationId xmlns:a16="http://schemas.microsoft.com/office/drawing/2014/main" id="{467C46CA-B925-4F9D-9892-3BE03A88CE0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11682247" y="6096768"/>
            <a:ext cx="509753" cy="50958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  <p:sp>
        <p:nvSpPr>
          <p:cNvPr id="26" name="Plassholder for tekst 29">
            <a:extLst>
              <a:ext uri="{FF2B5EF4-FFF2-40B4-BE49-F238E27FC236}">
                <a16:creationId xmlns:a16="http://schemas.microsoft.com/office/drawing/2014/main" id="{9C07BABA-FE02-49A3-8612-5A4D1589C4C0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11320411" y="6230098"/>
            <a:ext cx="12606" cy="24123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  <p:sp>
        <p:nvSpPr>
          <p:cNvPr id="9" name="Plassholder for bilde 10">
            <a:extLst>
              <a:ext uri="{FF2B5EF4-FFF2-40B4-BE49-F238E27FC236}">
                <a16:creationId xmlns:a16="http://schemas.microsoft.com/office/drawing/2014/main" id="{8210D27B-F0DD-664D-8182-DF2A8671D47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6096000" cy="3429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F8B80530-3109-4544-B711-A89B0E8D4FA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08225" y="4765892"/>
            <a:ext cx="5335677" cy="1290334"/>
          </a:xfrm>
        </p:spPr>
        <p:txBody>
          <a:bodyPr/>
          <a:lstStyle>
            <a:lvl1pPr marL="0" indent="0" algn="r">
              <a:buClr>
                <a:schemeClr val="bg2">
                  <a:lumMod val="75000"/>
                </a:schemeClr>
              </a:buClr>
              <a:buFont typeface="Arial" panose="020B0604020202020204" pitchFamily="34" charset="0"/>
              <a:buNone/>
              <a:defRPr/>
            </a:lvl1pPr>
            <a:lvl2pPr marL="457040" indent="0" algn="r">
              <a:buClr>
                <a:schemeClr val="bg1"/>
              </a:buClr>
              <a:buNone/>
              <a:defRPr/>
            </a:lvl2pPr>
            <a:lvl3pPr marL="914080" indent="0" algn="r">
              <a:buClr>
                <a:schemeClr val="bg1"/>
              </a:buClr>
              <a:buNone/>
              <a:defRPr/>
            </a:lvl3pPr>
            <a:lvl4pPr marL="1371120" indent="0" algn="r">
              <a:buClr>
                <a:schemeClr val="bg1"/>
              </a:buClr>
              <a:buNone/>
              <a:defRPr/>
            </a:lvl4pPr>
            <a:lvl5pPr marL="1828160" indent="0" algn="r">
              <a:buClr>
                <a:schemeClr val="bg1"/>
              </a:buClr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74355819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bilder grøn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357E21F2-F8F0-2345-8529-B8D7623521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345278" y="768585"/>
            <a:ext cx="5335677" cy="353943"/>
          </a:xfrm>
        </p:spPr>
        <p:txBody>
          <a:bodyPr>
            <a:normAutofit/>
          </a:bodyPr>
          <a:lstStyle>
            <a:lvl1pPr marL="0" indent="0" algn="l">
              <a:buClr>
                <a:schemeClr val="bg1"/>
              </a:buClr>
              <a:buFont typeface="Arial" panose="020B0604020202020204" pitchFamily="34" charset="0"/>
              <a:buNone/>
              <a:defRPr sz="2300" b="1">
                <a:latin typeface="+mj-lt"/>
              </a:defRPr>
            </a:lvl1pPr>
            <a:lvl2pPr>
              <a:buClr>
                <a:schemeClr val="bg1"/>
              </a:buClr>
              <a:defRPr sz="2300" b="1">
                <a:latin typeface="+mj-lt"/>
              </a:defRPr>
            </a:lvl2pPr>
            <a:lvl3pPr>
              <a:buClr>
                <a:schemeClr val="bg1"/>
              </a:buClr>
              <a:defRPr sz="2300" b="1">
                <a:latin typeface="+mj-lt"/>
              </a:defRPr>
            </a:lvl3pPr>
            <a:lvl4pPr>
              <a:buClr>
                <a:schemeClr val="bg1"/>
              </a:buClr>
              <a:defRPr sz="2300" b="1">
                <a:latin typeface="+mj-lt"/>
              </a:defRPr>
            </a:lvl4pPr>
            <a:lvl5pPr>
              <a:buClr>
                <a:schemeClr val="bg1"/>
              </a:buClr>
              <a:defRPr sz="2300" b="1">
                <a:latin typeface="+mj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952F85C-67B2-224D-9081-363635A4972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08224" y="4201487"/>
            <a:ext cx="5335677" cy="353943"/>
          </a:xfrm>
        </p:spPr>
        <p:txBody>
          <a:bodyPr>
            <a:normAutofit/>
          </a:bodyPr>
          <a:lstStyle>
            <a:lvl1pPr marL="0" indent="0" algn="r">
              <a:buClr>
                <a:schemeClr val="bg1"/>
              </a:buClr>
              <a:buFont typeface="Arial" panose="020B0604020202020204" pitchFamily="34" charset="0"/>
              <a:buNone/>
              <a:defRPr sz="2300" b="1">
                <a:latin typeface="+mj-lt"/>
              </a:defRPr>
            </a:lvl1pPr>
            <a:lvl2pPr>
              <a:buClr>
                <a:schemeClr val="bg1"/>
              </a:buClr>
              <a:defRPr sz="2300" b="1">
                <a:latin typeface="+mj-lt"/>
              </a:defRPr>
            </a:lvl2pPr>
            <a:lvl3pPr>
              <a:buClr>
                <a:schemeClr val="bg1"/>
              </a:buClr>
              <a:defRPr sz="2300" b="1">
                <a:latin typeface="+mj-lt"/>
              </a:defRPr>
            </a:lvl3pPr>
            <a:lvl4pPr>
              <a:buClr>
                <a:schemeClr val="bg1"/>
              </a:buClr>
              <a:defRPr sz="2300" b="1">
                <a:latin typeface="+mj-lt"/>
              </a:defRPr>
            </a:lvl4pPr>
            <a:lvl5pPr>
              <a:buClr>
                <a:schemeClr val="bg1"/>
              </a:buClr>
              <a:defRPr sz="2300" b="1">
                <a:latin typeface="+mj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8DC53AC-A5B2-364D-B382-69E60BCB31A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45277" y="1338263"/>
            <a:ext cx="5335677" cy="1290334"/>
          </a:xfrm>
        </p:spPr>
        <p:txBody>
          <a:bodyPr/>
          <a:lstStyle>
            <a:lvl1pPr marL="0" indent="0" algn="l">
              <a:buClr>
                <a:schemeClr val="bg1"/>
              </a:buClr>
              <a:buFont typeface="Arial" panose="020B0604020202020204" pitchFamily="34" charset="0"/>
              <a:buNone/>
              <a:defRPr/>
            </a:lvl1pPr>
            <a:lvl2pPr marL="457040" indent="0" algn="l">
              <a:buClr>
                <a:schemeClr val="bg1"/>
              </a:buClr>
              <a:buNone/>
              <a:defRPr/>
            </a:lvl2pPr>
            <a:lvl3pPr marL="914080" indent="0" algn="l">
              <a:buClr>
                <a:schemeClr val="bg1"/>
              </a:buClr>
              <a:buNone/>
              <a:defRPr/>
            </a:lvl3pPr>
            <a:lvl4pPr marL="1371120" indent="0" algn="l">
              <a:buClr>
                <a:schemeClr val="bg1"/>
              </a:buClr>
              <a:buNone/>
              <a:defRPr/>
            </a:lvl4pPr>
            <a:lvl5pPr marL="1828160" indent="0" algn="l">
              <a:buClr>
                <a:schemeClr val="bg1"/>
              </a:buClr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4" name="Plassholder for bilde 10">
            <a:extLst>
              <a:ext uri="{FF2B5EF4-FFF2-40B4-BE49-F238E27FC236}">
                <a16:creationId xmlns:a16="http://schemas.microsoft.com/office/drawing/2014/main" id="{3F7E708B-D066-4A8C-A430-D0A7FD91CC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3429000"/>
            <a:ext cx="6097293" cy="3429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1B4223F4-0147-F641-84A0-66FD34A81A3E}" type="datetime1">
              <a:t>06.06.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en-GB"/>
              <a:t>Presentasjonens eller kapittelets titt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C6A6BCC-FF39-42D9-ACE8-4D7C3119893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2" name="Plassholder for tekst 29">
            <a:extLst>
              <a:ext uri="{FF2B5EF4-FFF2-40B4-BE49-F238E27FC236}">
                <a16:creationId xmlns:a16="http://schemas.microsoft.com/office/drawing/2014/main" id="{467C46CA-B925-4F9D-9892-3BE03A88CE0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11682247" y="6096768"/>
            <a:ext cx="509753" cy="50958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  <p:sp>
        <p:nvSpPr>
          <p:cNvPr id="26" name="Plassholder for tekst 29">
            <a:extLst>
              <a:ext uri="{FF2B5EF4-FFF2-40B4-BE49-F238E27FC236}">
                <a16:creationId xmlns:a16="http://schemas.microsoft.com/office/drawing/2014/main" id="{9C07BABA-FE02-49A3-8612-5A4D1589C4C0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11320411" y="6230098"/>
            <a:ext cx="12606" cy="24123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  <p:sp>
        <p:nvSpPr>
          <p:cNvPr id="9" name="Plassholder for bilde 10">
            <a:extLst>
              <a:ext uri="{FF2B5EF4-FFF2-40B4-BE49-F238E27FC236}">
                <a16:creationId xmlns:a16="http://schemas.microsoft.com/office/drawing/2014/main" id="{8210D27B-F0DD-664D-8182-DF2A8671D47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6096000" cy="3429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F8B80530-3109-4544-B711-A89B0E8D4FA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08225" y="4765892"/>
            <a:ext cx="5335677" cy="1290334"/>
          </a:xfrm>
        </p:spPr>
        <p:txBody>
          <a:bodyPr/>
          <a:lstStyle>
            <a:lvl1pPr marL="0" indent="0" algn="r">
              <a:buClr>
                <a:schemeClr val="bg1"/>
              </a:buClr>
              <a:buFont typeface="Arial" panose="020B0604020202020204" pitchFamily="34" charset="0"/>
              <a:buNone/>
              <a:defRPr/>
            </a:lvl1pPr>
            <a:lvl2pPr marL="457040" indent="0" algn="r">
              <a:buClr>
                <a:schemeClr val="bg1"/>
              </a:buClr>
              <a:buNone/>
              <a:defRPr/>
            </a:lvl2pPr>
            <a:lvl3pPr marL="914080" indent="0" algn="r">
              <a:buClr>
                <a:schemeClr val="bg1"/>
              </a:buClr>
              <a:buNone/>
              <a:defRPr/>
            </a:lvl3pPr>
            <a:lvl4pPr marL="1371120" indent="0" algn="r">
              <a:buClr>
                <a:schemeClr val="bg1"/>
              </a:buClr>
              <a:buNone/>
              <a:defRPr/>
            </a:lvl4pPr>
            <a:lvl5pPr marL="1828160" indent="0" algn="r">
              <a:buClr>
                <a:schemeClr val="bg1"/>
              </a:buClr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86024786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grøn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225" y="869429"/>
            <a:ext cx="3454637" cy="5139894"/>
          </a:xfr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42D27550-46F9-1845-B2BE-058D978A8BC4}" type="datetime1">
              <a:t>06.06.2024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en-GB"/>
              <a:t>Presentasjonens eller kapittelets titt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C6A6BCC-FF39-42D9-ACE8-4D7C31198930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330E2F7-1E79-49FF-B1F3-FBCC459D6A8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8682" y="869430"/>
            <a:ext cx="3457125" cy="5139894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8FFA8EC-5381-431A-A353-70E1893665E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29138" y="869430"/>
            <a:ext cx="3457125" cy="3223839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19D063C-B2BB-7644-842B-1A01E67999EE}"/>
              </a:ext>
            </a:extLst>
          </p:cNvPr>
          <p:cNvGrpSpPr/>
          <p:nvPr userDrawn="1"/>
        </p:nvGrpSpPr>
        <p:grpSpPr>
          <a:xfrm>
            <a:off x="8229138" y="4374323"/>
            <a:ext cx="3962862" cy="1614248"/>
            <a:chOff x="7105337" y="1019331"/>
            <a:chExt cx="8019740" cy="3267856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D0B4411A-340A-9448-AAEA-E9FE342861A9}"/>
                </a:ext>
              </a:extLst>
            </p:cNvPr>
            <p:cNvSpPr/>
            <p:nvPr userDrawn="1"/>
          </p:nvSpPr>
          <p:spPr>
            <a:xfrm>
              <a:off x="7105337" y="1019331"/>
              <a:ext cx="3267856" cy="3267856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O" sz="450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27BD3DC1-1833-F14C-AE47-8B40F1860C60}"/>
                </a:ext>
              </a:extLst>
            </p:cNvPr>
            <p:cNvSpPr/>
            <p:nvPr userDrawn="1"/>
          </p:nvSpPr>
          <p:spPr>
            <a:xfrm>
              <a:off x="10298243" y="1019331"/>
              <a:ext cx="3267856" cy="3267856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O" sz="450"/>
            </a:p>
          </p:txBody>
        </p:sp>
        <p:sp>
          <p:nvSpPr>
            <p:cNvPr id="14" name="Pie 8">
              <a:extLst>
                <a:ext uri="{FF2B5EF4-FFF2-40B4-BE49-F238E27FC236}">
                  <a16:creationId xmlns:a16="http://schemas.microsoft.com/office/drawing/2014/main" id="{11027ED5-A6AA-A042-A365-37D2C7AE4B51}"/>
                </a:ext>
              </a:extLst>
            </p:cNvPr>
            <p:cNvSpPr/>
            <p:nvPr userDrawn="1"/>
          </p:nvSpPr>
          <p:spPr>
            <a:xfrm>
              <a:off x="13491149" y="1019331"/>
              <a:ext cx="1633928" cy="3267856"/>
            </a:xfrm>
            <a:custGeom>
              <a:avLst/>
              <a:gdLst>
                <a:gd name="connsiteX0" fmla="*/ 3267856 w 3267856"/>
                <a:gd name="connsiteY0" fmla="*/ 1633928 h 3267856"/>
                <a:gd name="connsiteX1" fmla="*/ 1633928 w 3267856"/>
                <a:gd name="connsiteY1" fmla="*/ 3267856 h 3267856"/>
                <a:gd name="connsiteX2" fmla="*/ 0 w 3267856"/>
                <a:gd name="connsiteY2" fmla="*/ 1633928 h 3267856"/>
                <a:gd name="connsiteX3" fmla="*/ 1633928 w 3267856"/>
                <a:gd name="connsiteY3" fmla="*/ 0 h 3267856"/>
                <a:gd name="connsiteX4" fmla="*/ 1633928 w 3267856"/>
                <a:gd name="connsiteY4" fmla="*/ 1633928 h 3267856"/>
                <a:gd name="connsiteX5" fmla="*/ 3267856 w 3267856"/>
                <a:gd name="connsiteY5" fmla="*/ 1633928 h 3267856"/>
                <a:gd name="connsiteX0" fmla="*/ 1633928 w 1633928"/>
                <a:gd name="connsiteY0" fmla="*/ 1633928 h 3267856"/>
                <a:gd name="connsiteX1" fmla="*/ 1633928 w 1633928"/>
                <a:gd name="connsiteY1" fmla="*/ 3267856 h 3267856"/>
                <a:gd name="connsiteX2" fmla="*/ 0 w 1633928"/>
                <a:gd name="connsiteY2" fmla="*/ 1633928 h 3267856"/>
                <a:gd name="connsiteX3" fmla="*/ 1633928 w 1633928"/>
                <a:gd name="connsiteY3" fmla="*/ 0 h 3267856"/>
                <a:gd name="connsiteX4" fmla="*/ 1633928 w 1633928"/>
                <a:gd name="connsiteY4" fmla="*/ 1633928 h 3267856"/>
                <a:gd name="connsiteX0" fmla="*/ 1633928 w 1633928"/>
                <a:gd name="connsiteY0" fmla="*/ 0 h 3267856"/>
                <a:gd name="connsiteX1" fmla="*/ 1633928 w 1633928"/>
                <a:gd name="connsiteY1" fmla="*/ 3267856 h 3267856"/>
                <a:gd name="connsiteX2" fmla="*/ 0 w 1633928"/>
                <a:gd name="connsiteY2" fmla="*/ 1633928 h 3267856"/>
                <a:gd name="connsiteX3" fmla="*/ 1633928 w 1633928"/>
                <a:gd name="connsiteY3" fmla="*/ 0 h 3267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33928" h="3267856">
                  <a:moveTo>
                    <a:pt x="1633928" y="0"/>
                  </a:moveTo>
                  <a:lnTo>
                    <a:pt x="1633928" y="3267856"/>
                  </a:lnTo>
                  <a:cubicBezTo>
                    <a:pt x="731534" y="3267856"/>
                    <a:pt x="0" y="2536322"/>
                    <a:pt x="0" y="1633928"/>
                  </a:cubicBezTo>
                  <a:cubicBezTo>
                    <a:pt x="0" y="731534"/>
                    <a:pt x="731534" y="0"/>
                    <a:pt x="1633928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O" sz="45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860370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>
            <a:extLst>
              <a:ext uri="{FF2B5EF4-FFF2-40B4-BE49-F238E27FC236}">
                <a16:creationId xmlns:a16="http://schemas.microsoft.com/office/drawing/2014/main" id="{1E715267-34AF-4B74-AAD1-72409E09DEC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16"/>
            <a:ext cx="12192000" cy="6855768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A22C1A7E-B947-495D-A669-27690D3086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8226" y="2199729"/>
            <a:ext cx="4601794" cy="1218795"/>
          </a:xfrm>
        </p:spPr>
        <p:txBody>
          <a:bodyPr wrap="square" anchor="b">
            <a:spAutoFit/>
          </a:bodyPr>
          <a:lstStyle>
            <a:lvl1pPr algn="l">
              <a:defRPr sz="4399" b="1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E88278C5-46EE-42FF-A314-3D68F530EAA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/>
          <a:lstStyle/>
          <a:p>
            <a:fld id="{3129ECF1-F0D3-4CD8-9C78-0C81B2D5F5E5}" type="datetimeFigureOut">
              <a:rPr lang="nb-NO" smtClean="0"/>
              <a:t>06.06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1F1DF95-9059-4F80-8961-9E17A1EE9C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C0FEBC7-3E7F-4DCB-B8BD-C094F96491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4409EF66-46AA-4080-844D-5B92F1A6B3C3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FC744FD0-7D08-408B-A97D-A4C4406E03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06746" y="2428391"/>
            <a:ext cx="4861689" cy="3002757"/>
          </a:xfrm>
        </p:spPr>
        <p:txBody>
          <a:bodyPr>
            <a:normAutofit/>
          </a:bodyPr>
          <a:lstStyle>
            <a:lvl1pPr marL="361824" indent="-361824">
              <a:lnSpc>
                <a:spcPct val="100000"/>
              </a:lnSpc>
              <a:spcBef>
                <a:spcPts val="750"/>
              </a:spcBef>
              <a:buClr>
                <a:schemeClr val="accent6"/>
              </a:buClr>
              <a:buFont typeface="Arial" panose="020B0604020202020204" pitchFamily="34" charset="0"/>
              <a:buChar char="●"/>
              <a:defRPr sz="2799" b="1">
                <a:solidFill>
                  <a:schemeClr val="lt1"/>
                </a:solidFill>
              </a:defRPr>
            </a:lvl1pPr>
            <a:lvl2pPr marL="456880" indent="0">
              <a:buNone/>
              <a:defRPr/>
            </a:lvl2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B31E833D-6CEF-47AF-A842-08013A6181B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682248" y="6096768"/>
            <a:ext cx="509753" cy="509588"/>
          </a:xfrm>
          <a:prstGeom prst="rect">
            <a:avLst/>
          </a:prstGeom>
        </p:spPr>
      </p:pic>
      <p:cxnSp>
        <p:nvCxnSpPr>
          <p:cNvPr id="12" name="Rett linje 11">
            <a:extLst>
              <a:ext uri="{FF2B5EF4-FFF2-40B4-BE49-F238E27FC236}">
                <a16:creationId xmlns:a16="http://schemas.microsoft.com/office/drawing/2014/main" id="{635C25F5-BB3E-4579-BA5A-D3E2FDFADE03}"/>
              </a:ext>
            </a:extLst>
          </p:cNvPr>
          <p:cNvCxnSpPr/>
          <p:nvPr/>
        </p:nvCxnSpPr>
        <p:spPr>
          <a:xfrm>
            <a:off x="11326075" y="6230128"/>
            <a:ext cx="0" cy="241200"/>
          </a:xfrm>
          <a:prstGeom prst="line">
            <a:avLst/>
          </a:prstGeom>
          <a:ln w="25400">
            <a:solidFill>
              <a:schemeClr val="l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75392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grønn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225" y="869429"/>
            <a:ext cx="3454637" cy="5139894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42D27550-46F9-1845-B2BE-058D978A8BC4}" type="datetime1">
              <a:t>06.06.2024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Presentasjonens eller kapittelets titt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C6A6BCC-FF39-42D9-ACE8-4D7C3119893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330E2F7-1E79-49FF-B1F3-FBCC459D6A8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8682" y="869430"/>
            <a:ext cx="3457125" cy="5139894"/>
          </a:xfr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8FFA8EC-5381-431A-A353-70E1893665E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29138" y="869430"/>
            <a:ext cx="3457125" cy="3223839"/>
          </a:xfr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19D063C-B2BB-7644-842B-1A01E67999EE}"/>
              </a:ext>
            </a:extLst>
          </p:cNvPr>
          <p:cNvGrpSpPr/>
          <p:nvPr userDrawn="1"/>
        </p:nvGrpSpPr>
        <p:grpSpPr>
          <a:xfrm>
            <a:off x="8229138" y="4374323"/>
            <a:ext cx="3962862" cy="1614248"/>
            <a:chOff x="7105337" y="1019331"/>
            <a:chExt cx="8019740" cy="3267856"/>
          </a:xfrm>
          <a:solidFill>
            <a:schemeClr val="accent4"/>
          </a:solidFill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D0B4411A-340A-9448-AAEA-E9FE342861A9}"/>
                </a:ext>
              </a:extLst>
            </p:cNvPr>
            <p:cNvSpPr/>
            <p:nvPr userDrawn="1"/>
          </p:nvSpPr>
          <p:spPr>
            <a:xfrm>
              <a:off x="7105337" y="1019331"/>
              <a:ext cx="3267856" cy="326785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O" sz="450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27BD3DC1-1833-F14C-AE47-8B40F1860C60}"/>
                </a:ext>
              </a:extLst>
            </p:cNvPr>
            <p:cNvSpPr/>
            <p:nvPr userDrawn="1"/>
          </p:nvSpPr>
          <p:spPr>
            <a:xfrm>
              <a:off x="10298243" y="1019331"/>
              <a:ext cx="3267856" cy="326785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O" sz="450"/>
            </a:p>
          </p:txBody>
        </p:sp>
        <p:sp>
          <p:nvSpPr>
            <p:cNvPr id="14" name="Pie 8">
              <a:extLst>
                <a:ext uri="{FF2B5EF4-FFF2-40B4-BE49-F238E27FC236}">
                  <a16:creationId xmlns:a16="http://schemas.microsoft.com/office/drawing/2014/main" id="{11027ED5-A6AA-A042-A365-37D2C7AE4B51}"/>
                </a:ext>
              </a:extLst>
            </p:cNvPr>
            <p:cNvSpPr/>
            <p:nvPr userDrawn="1"/>
          </p:nvSpPr>
          <p:spPr>
            <a:xfrm>
              <a:off x="13491149" y="1019331"/>
              <a:ext cx="1633928" cy="3267856"/>
            </a:xfrm>
            <a:custGeom>
              <a:avLst/>
              <a:gdLst>
                <a:gd name="connsiteX0" fmla="*/ 3267856 w 3267856"/>
                <a:gd name="connsiteY0" fmla="*/ 1633928 h 3267856"/>
                <a:gd name="connsiteX1" fmla="*/ 1633928 w 3267856"/>
                <a:gd name="connsiteY1" fmla="*/ 3267856 h 3267856"/>
                <a:gd name="connsiteX2" fmla="*/ 0 w 3267856"/>
                <a:gd name="connsiteY2" fmla="*/ 1633928 h 3267856"/>
                <a:gd name="connsiteX3" fmla="*/ 1633928 w 3267856"/>
                <a:gd name="connsiteY3" fmla="*/ 0 h 3267856"/>
                <a:gd name="connsiteX4" fmla="*/ 1633928 w 3267856"/>
                <a:gd name="connsiteY4" fmla="*/ 1633928 h 3267856"/>
                <a:gd name="connsiteX5" fmla="*/ 3267856 w 3267856"/>
                <a:gd name="connsiteY5" fmla="*/ 1633928 h 3267856"/>
                <a:gd name="connsiteX0" fmla="*/ 1633928 w 1633928"/>
                <a:gd name="connsiteY0" fmla="*/ 1633928 h 3267856"/>
                <a:gd name="connsiteX1" fmla="*/ 1633928 w 1633928"/>
                <a:gd name="connsiteY1" fmla="*/ 3267856 h 3267856"/>
                <a:gd name="connsiteX2" fmla="*/ 0 w 1633928"/>
                <a:gd name="connsiteY2" fmla="*/ 1633928 h 3267856"/>
                <a:gd name="connsiteX3" fmla="*/ 1633928 w 1633928"/>
                <a:gd name="connsiteY3" fmla="*/ 0 h 3267856"/>
                <a:gd name="connsiteX4" fmla="*/ 1633928 w 1633928"/>
                <a:gd name="connsiteY4" fmla="*/ 1633928 h 3267856"/>
                <a:gd name="connsiteX0" fmla="*/ 1633928 w 1633928"/>
                <a:gd name="connsiteY0" fmla="*/ 0 h 3267856"/>
                <a:gd name="connsiteX1" fmla="*/ 1633928 w 1633928"/>
                <a:gd name="connsiteY1" fmla="*/ 3267856 h 3267856"/>
                <a:gd name="connsiteX2" fmla="*/ 0 w 1633928"/>
                <a:gd name="connsiteY2" fmla="*/ 1633928 h 3267856"/>
                <a:gd name="connsiteX3" fmla="*/ 1633928 w 1633928"/>
                <a:gd name="connsiteY3" fmla="*/ 0 h 3267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33928" h="3267856">
                  <a:moveTo>
                    <a:pt x="1633928" y="0"/>
                  </a:moveTo>
                  <a:lnTo>
                    <a:pt x="1633928" y="3267856"/>
                  </a:lnTo>
                  <a:cubicBezTo>
                    <a:pt x="731534" y="3267856"/>
                    <a:pt x="0" y="2536322"/>
                    <a:pt x="0" y="1633928"/>
                  </a:cubicBezTo>
                  <a:cubicBezTo>
                    <a:pt x="0" y="731534"/>
                    <a:pt x="731534" y="0"/>
                    <a:pt x="1633928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O" sz="45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830544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lefon med bilde,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F7A18378-200D-4D3B-9C82-3E7F6B38E378}"/>
              </a:ext>
            </a:extLst>
          </p:cNvPr>
          <p:cNvSpPr/>
          <p:nvPr userDrawn="1"/>
        </p:nvSpPr>
        <p:spPr>
          <a:xfrm>
            <a:off x="1" y="1562288"/>
            <a:ext cx="12192000" cy="373427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50"/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E2E94261-804D-4088-8A9C-3712CE26C0C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618531" cy="685885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2542" y="2641129"/>
            <a:ext cx="7690282" cy="387799"/>
          </a:xfrm>
        </p:spPr>
        <p:txBody>
          <a:bodyPr lIns="0" tIns="0" rIns="0" bIns="0" anchor="b"/>
          <a:lstStyle>
            <a:lvl1pPr algn="l"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B6834AEF-F7E7-9D4D-8C28-078D28965FFF}" type="datetime1">
              <a:t>06.06.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en-GB"/>
              <a:t>Presentasjonens eller kapittelets titt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C6A6BCC-FF39-42D9-ACE8-4D7C31198930}" type="slidenum">
              <a:rPr lang="en-GB" smtClean="0"/>
              <a:t>‹#›</a:t>
            </a:fld>
            <a:endParaRPr lang="en-GB"/>
          </a:p>
        </p:txBody>
      </p:sp>
      <p:sp>
        <p:nvSpPr>
          <p:cNvPr id="15" name="Plassholder for bilde 10">
            <a:extLst>
              <a:ext uri="{FF2B5EF4-FFF2-40B4-BE49-F238E27FC236}">
                <a16:creationId xmlns:a16="http://schemas.microsoft.com/office/drawing/2014/main" id="{E4BA04C0-646F-4FD0-BAA7-EC427C6A83D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41983" y="1143143"/>
            <a:ext cx="2134295" cy="4572000"/>
          </a:xfrm>
          <a:prstGeom prst="roundRect">
            <a:avLst>
              <a:gd name="adj" fmla="val 11991"/>
            </a:avLst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12" name="Plassholder for tekst 11">
            <a:extLst>
              <a:ext uri="{FF2B5EF4-FFF2-40B4-BE49-F238E27FC236}">
                <a16:creationId xmlns:a16="http://schemas.microsoft.com/office/drawing/2014/main" id="{E4A6BEA6-98E8-4622-A7D9-799C1E6E8F9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62542" y="3238500"/>
            <a:ext cx="7690281" cy="167639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 b="0" i="0" u="none" cap="none">
                <a:solidFill>
                  <a:schemeClr val="lt1"/>
                </a:solidFill>
                <a:latin typeface="+mn-lt"/>
              </a:defRPr>
            </a:lvl1pPr>
            <a:lvl2pPr algn="l">
              <a:defRPr>
                <a:solidFill>
                  <a:schemeClr val="lt1"/>
                </a:solidFill>
              </a:defRPr>
            </a:lvl2pPr>
            <a:lvl3pPr algn="l">
              <a:defRPr>
                <a:solidFill>
                  <a:schemeClr val="lt1"/>
                </a:solidFill>
              </a:defRPr>
            </a:lvl3pPr>
            <a:lvl4pPr algn="l">
              <a:defRPr>
                <a:solidFill>
                  <a:schemeClr val="lt1"/>
                </a:solidFill>
              </a:defRPr>
            </a:lvl4pPr>
            <a:lvl5pPr algn="l">
              <a:defRPr>
                <a:solidFill>
                  <a:schemeClr val="lt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26484939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med bilde,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F7A18378-200D-4D3B-9C82-3E7F6B38E378}"/>
              </a:ext>
            </a:extLst>
          </p:cNvPr>
          <p:cNvSpPr/>
          <p:nvPr userDrawn="1"/>
        </p:nvSpPr>
        <p:spPr>
          <a:xfrm>
            <a:off x="-1" y="0"/>
            <a:ext cx="12192001" cy="342942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5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0" y="2888779"/>
            <a:ext cx="5456824" cy="387799"/>
          </a:xfrm>
        </p:spPr>
        <p:txBody>
          <a:bodyPr lIns="0" tIns="0" rIns="0" bIns="0" anchor="b"/>
          <a:lstStyle>
            <a:lvl1pPr algn="r"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FA8FA816-2B8B-C044-94E9-B36AED5C8B1D}" type="datetime1">
              <a:t>06.06.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en-GB"/>
              <a:t>Presentasjonens eller kapittelets titt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C6A6BCC-FF39-42D9-ACE8-4D7C31198930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Plassholder for tekst 11">
            <a:extLst>
              <a:ext uri="{FF2B5EF4-FFF2-40B4-BE49-F238E27FC236}">
                <a16:creationId xmlns:a16="http://schemas.microsoft.com/office/drawing/2014/main" id="{E4A6BEA6-98E8-4622-A7D9-799C1E6E8F9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5999" y="3647012"/>
            <a:ext cx="5456824" cy="1676399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 b="0" i="0" u="none" cap="none">
                <a:solidFill>
                  <a:schemeClr val="dk2"/>
                </a:solidFill>
                <a:latin typeface="+mn-lt"/>
              </a:defRPr>
            </a:lvl1pPr>
            <a:lvl2pPr algn="l">
              <a:defRPr>
                <a:solidFill>
                  <a:schemeClr val="lt1"/>
                </a:solidFill>
              </a:defRPr>
            </a:lvl2pPr>
            <a:lvl3pPr algn="l">
              <a:defRPr>
                <a:solidFill>
                  <a:schemeClr val="lt1"/>
                </a:solidFill>
              </a:defRPr>
            </a:lvl3pPr>
            <a:lvl4pPr algn="l">
              <a:defRPr>
                <a:solidFill>
                  <a:schemeClr val="lt1"/>
                </a:solidFill>
              </a:defRPr>
            </a:lvl4pPr>
            <a:lvl5pPr algn="l">
              <a:defRPr>
                <a:solidFill>
                  <a:schemeClr val="lt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17" name="Bilde 16">
            <a:extLst>
              <a:ext uri="{FF2B5EF4-FFF2-40B4-BE49-F238E27FC236}">
                <a16:creationId xmlns:a16="http://schemas.microsoft.com/office/drawing/2014/main" id="{024CDCE0-F61C-4E3C-8F17-E8927F2AB8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894634" cy="6858858"/>
          </a:xfrm>
          <a:prstGeom prst="rect">
            <a:avLst/>
          </a:prstGeom>
        </p:spPr>
      </p:pic>
      <p:sp>
        <p:nvSpPr>
          <p:cNvPr id="24" name="Plassholder for bilde 23">
            <a:extLst>
              <a:ext uri="{FF2B5EF4-FFF2-40B4-BE49-F238E27FC236}">
                <a16:creationId xmlns:a16="http://schemas.microsoft.com/office/drawing/2014/main" id="{71F7D898-20FD-4355-8038-25DDFFF5874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672168"/>
            <a:ext cx="5210896" cy="3640088"/>
          </a:xfrm>
          <a:custGeom>
            <a:avLst/>
            <a:gdLst>
              <a:gd name="connsiteX0" fmla="*/ 0 w 10418400"/>
              <a:gd name="connsiteY0" fmla="*/ 0 h 7280175"/>
              <a:gd name="connsiteX1" fmla="*/ 243231 w 10418400"/>
              <a:gd name="connsiteY1" fmla="*/ 0 h 7280175"/>
              <a:gd name="connsiteX2" fmla="*/ 723900 w 10418400"/>
              <a:gd name="connsiteY2" fmla="*/ 0 h 7280175"/>
              <a:gd name="connsiteX3" fmla="*/ 10175169 w 10418400"/>
              <a:gd name="connsiteY3" fmla="*/ 0 h 7280175"/>
              <a:gd name="connsiteX4" fmla="*/ 10418400 w 10418400"/>
              <a:gd name="connsiteY4" fmla="*/ 243231 h 7280175"/>
              <a:gd name="connsiteX5" fmla="*/ 10418400 w 10418400"/>
              <a:gd name="connsiteY5" fmla="*/ 7036944 h 7280175"/>
              <a:gd name="connsiteX6" fmla="*/ 10175169 w 10418400"/>
              <a:gd name="connsiteY6" fmla="*/ 7280175 h 7280175"/>
              <a:gd name="connsiteX7" fmla="*/ 723900 w 10418400"/>
              <a:gd name="connsiteY7" fmla="*/ 7280175 h 7280175"/>
              <a:gd name="connsiteX8" fmla="*/ 243231 w 10418400"/>
              <a:gd name="connsiteY8" fmla="*/ 7280175 h 7280175"/>
              <a:gd name="connsiteX9" fmla="*/ 0 w 10418400"/>
              <a:gd name="connsiteY9" fmla="*/ 7280175 h 7280175"/>
              <a:gd name="connsiteX10" fmla="*/ 0 w 10418400"/>
              <a:gd name="connsiteY10" fmla="*/ 7036944 h 7280175"/>
              <a:gd name="connsiteX11" fmla="*/ 0 w 10418400"/>
              <a:gd name="connsiteY11" fmla="*/ 243231 h 7280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18400" h="7280175">
                <a:moveTo>
                  <a:pt x="0" y="0"/>
                </a:moveTo>
                <a:lnTo>
                  <a:pt x="243231" y="0"/>
                </a:lnTo>
                <a:lnTo>
                  <a:pt x="723900" y="0"/>
                </a:lnTo>
                <a:lnTo>
                  <a:pt x="10175169" y="0"/>
                </a:lnTo>
                <a:cubicBezTo>
                  <a:pt x="10309502" y="0"/>
                  <a:pt x="10418400" y="108898"/>
                  <a:pt x="10418400" y="243231"/>
                </a:cubicBezTo>
                <a:lnTo>
                  <a:pt x="10418400" y="7036944"/>
                </a:lnTo>
                <a:cubicBezTo>
                  <a:pt x="10418400" y="7171277"/>
                  <a:pt x="10309502" y="7280175"/>
                  <a:pt x="10175169" y="7280175"/>
                </a:cubicBezTo>
                <a:lnTo>
                  <a:pt x="723900" y="7280175"/>
                </a:lnTo>
                <a:lnTo>
                  <a:pt x="243231" y="7280175"/>
                </a:lnTo>
                <a:lnTo>
                  <a:pt x="0" y="7280175"/>
                </a:lnTo>
                <a:lnTo>
                  <a:pt x="0" y="7036944"/>
                </a:lnTo>
                <a:lnTo>
                  <a:pt x="0" y="243231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888329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ses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k 6">
            <a:extLst>
              <a:ext uri="{FF2B5EF4-FFF2-40B4-BE49-F238E27FC236}">
                <a16:creationId xmlns:a16="http://schemas.microsoft.com/office/drawing/2014/main" id="{57AF7F2C-3ABD-4B0E-B01E-F6EC1BD748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52198" y="261706"/>
            <a:ext cx="11687604" cy="6349892"/>
          </a:xfrm>
          <a:prstGeom prst="rect">
            <a:avLst/>
          </a:prstGeom>
        </p:spPr>
      </p:pic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EBFF2865-48EB-41EE-BA6F-F27FF7886D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/>
          <a:lstStyle/>
          <a:p>
            <a:fld id="{01FAC9E0-EE97-3644-92E7-3181EF6C645A}" type="datetime1">
              <a:t>06.06.2024</a:t>
            </a:fld>
            <a:endParaRPr lang="en-GB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675802EF-3313-4DAD-9E50-7758CF0D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esentasjonens eller kapittelets tittel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1616A2F1-3466-4B56-8B68-9F2EB48360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6A6BCC-FF39-42D9-ACE8-4D7C31198930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6819067D-574C-4E99-BFFF-1F39199E0D8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682247" y="6096768"/>
            <a:ext cx="509753" cy="509588"/>
          </a:xfrm>
          <a:prstGeom prst="rect">
            <a:avLst/>
          </a:prstGeom>
        </p:spPr>
      </p:pic>
      <p:cxnSp>
        <p:nvCxnSpPr>
          <p:cNvPr id="9" name="Rett linje 8">
            <a:extLst>
              <a:ext uri="{FF2B5EF4-FFF2-40B4-BE49-F238E27FC236}">
                <a16:creationId xmlns:a16="http://schemas.microsoft.com/office/drawing/2014/main" id="{BCFA2601-0A65-444B-ADC2-03BAF2DB179B}"/>
              </a:ext>
            </a:extLst>
          </p:cNvPr>
          <p:cNvCxnSpPr/>
          <p:nvPr userDrawn="1"/>
        </p:nvCxnSpPr>
        <p:spPr>
          <a:xfrm>
            <a:off x="11326075" y="6230128"/>
            <a:ext cx="0" cy="241200"/>
          </a:xfrm>
          <a:prstGeom prst="line">
            <a:avLst/>
          </a:prstGeom>
          <a:ln w="12700">
            <a:solidFill>
              <a:schemeClr val="l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lassholder for tekst 20">
            <a:extLst>
              <a:ext uri="{FF2B5EF4-FFF2-40B4-BE49-F238E27FC236}">
                <a16:creationId xmlns:a16="http://schemas.microsoft.com/office/drawing/2014/main" id="{5E215ED9-1CEB-48EA-B736-43316F5D96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8225" y="1574999"/>
            <a:ext cx="1867622" cy="1867015"/>
          </a:xfrm>
          <a:prstGeom prst="ellipse">
            <a:avLst/>
          </a:prstGeom>
          <a:solidFill>
            <a:schemeClr val="accent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#</a:t>
            </a:r>
          </a:p>
        </p:txBody>
      </p:sp>
      <p:sp>
        <p:nvSpPr>
          <p:cNvPr id="27" name="Plassholder for tekst 20">
            <a:extLst>
              <a:ext uri="{FF2B5EF4-FFF2-40B4-BE49-F238E27FC236}">
                <a16:creationId xmlns:a16="http://schemas.microsoft.com/office/drawing/2014/main" id="{E9A6D60F-4B62-4F8D-8126-077BB6071D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59043" y="1574999"/>
            <a:ext cx="1867622" cy="1867015"/>
          </a:xfrm>
          <a:prstGeom prst="ellipse">
            <a:avLst/>
          </a:prstGeom>
          <a:solidFill>
            <a:schemeClr val="accent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#</a:t>
            </a:r>
          </a:p>
        </p:txBody>
      </p:sp>
      <p:sp>
        <p:nvSpPr>
          <p:cNvPr id="28" name="Plassholder for tekst 20">
            <a:extLst>
              <a:ext uri="{FF2B5EF4-FFF2-40B4-BE49-F238E27FC236}">
                <a16:creationId xmlns:a16="http://schemas.microsoft.com/office/drawing/2014/main" id="{28B09960-5D12-428F-92E7-C2E5356610D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09862" y="1574999"/>
            <a:ext cx="1867622" cy="1867015"/>
          </a:xfrm>
          <a:prstGeom prst="ellipse">
            <a:avLst/>
          </a:prstGeom>
          <a:solidFill>
            <a:schemeClr val="accent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#</a:t>
            </a:r>
          </a:p>
        </p:txBody>
      </p:sp>
      <p:sp>
        <p:nvSpPr>
          <p:cNvPr id="29" name="Plassholder for tekst 20">
            <a:extLst>
              <a:ext uri="{FF2B5EF4-FFF2-40B4-BE49-F238E27FC236}">
                <a16:creationId xmlns:a16="http://schemas.microsoft.com/office/drawing/2014/main" id="{84778EA6-ECA2-4204-BA90-7D966AACB8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83634" y="1574999"/>
            <a:ext cx="1867622" cy="1867015"/>
          </a:xfrm>
          <a:prstGeom prst="ellipse">
            <a:avLst/>
          </a:prstGeom>
          <a:solidFill>
            <a:srgbClr val="554CFD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#</a:t>
            </a:r>
          </a:p>
        </p:txBody>
      </p:sp>
      <p:sp>
        <p:nvSpPr>
          <p:cNvPr id="30" name="Plassholder for tekst 20">
            <a:extLst>
              <a:ext uri="{FF2B5EF4-FFF2-40B4-BE49-F238E27FC236}">
                <a16:creationId xmlns:a16="http://schemas.microsoft.com/office/drawing/2014/main" id="{D2ECCBD4-778D-4F64-A78C-6A9C9E8341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34452" y="1574999"/>
            <a:ext cx="1867622" cy="1867015"/>
          </a:xfrm>
          <a:prstGeom prst="ellipse">
            <a:avLst/>
          </a:prstGeom>
          <a:solidFill>
            <a:srgbClr val="554CFD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#</a:t>
            </a:r>
          </a:p>
        </p:txBody>
      </p:sp>
      <p:sp>
        <p:nvSpPr>
          <p:cNvPr id="32" name="Plassholder for tekst 31">
            <a:extLst>
              <a:ext uri="{FF2B5EF4-FFF2-40B4-BE49-F238E27FC236}">
                <a16:creationId xmlns:a16="http://schemas.microsoft.com/office/drawing/2014/main" id="{A31E3218-16DE-42E2-8BB9-63921C9698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1801" y="3838575"/>
            <a:ext cx="1440469" cy="276999"/>
          </a:xfrm>
        </p:spPr>
        <p:txBody>
          <a:bodyPr wrap="square">
            <a:spAutoFit/>
          </a:bodyPr>
          <a:lstStyle>
            <a:lvl1pPr marL="0" indent="0" algn="ctr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Tittel</a:t>
            </a:r>
            <a:endParaRPr lang="en-GB"/>
          </a:p>
        </p:txBody>
      </p:sp>
      <p:sp>
        <p:nvSpPr>
          <p:cNvPr id="33" name="Plassholder for tekst 31">
            <a:extLst>
              <a:ext uri="{FF2B5EF4-FFF2-40B4-BE49-F238E27FC236}">
                <a16:creationId xmlns:a16="http://schemas.microsoft.com/office/drawing/2014/main" id="{FD7AA2AE-A2C4-44CB-9250-263CF6397A8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6816" y="4253248"/>
            <a:ext cx="1350440" cy="1843521"/>
          </a:xfrm>
        </p:spPr>
        <p:txBody>
          <a:bodyPr wrap="square">
            <a:noAutofit/>
          </a:bodyPr>
          <a:lstStyle>
            <a:lvl1pPr marL="0" indent="0" algn="ctr">
              <a:buNone/>
              <a:defRPr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Tekst</a:t>
            </a:r>
          </a:p>
        </p:txBody>
      </p:sp>
      <p:sp>
        <p:nvSpPr>
          <p:cNvPr id="36" name="Plassholder for tekst 31">
            <a:extLst>
              <a:ext uri="{FF2B5EF4-FFF2-40B4-BE49-F238E27FC236}">
                <a16:creationId xmlns:a16="http://schemas.microsoft.com/office/drawing/2014/main" id="{76BC04BD-7578-4608-84B5-C5D9179F36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297211" y="3838575"/>
            <a:ext cx="1440469" cy="276999"/>
          </a:xfrm>
        </p:spPr>
        <p:txBody>
          <a:bodyPr wrap="square">
            <a:spAutoFit/>
          </a:bodyPr>
          <a:lstStyle>
            <a:lvl1pPr marL="0" indent="0" algn="ctr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Tittel</a:t>
            </a:r>
            <a:endParaRPr lang="en-GB"/>
          </a:p>
        </p:txBody>
      </p:sp>
      <p:sp>
        <p:nvSpPr>
          <p:cNvPr id="37" name="Plassholder for tekst 31">
            <a:extLst>
              <a:ext uri="{FF2B5EF4-FFF2-40B4-BE49-F238E27FC236}">
                <a16:creationId xmlns:a16="http://schemas.microsoft.com/office/drawing/2014/main" id="{D2FA771A-C603-4FA7-8A03-00FA7F04892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42225" y="4253248"/>
            <a:ext cx="1350440" cy="1843521"/>
          </a:xfrm>
        </p:spPr>
        <p:txBody>
          <a:bodyPr wrap="square">
            <a:noAutofit/>
          </a:bodyPr>
          <a:lstStyle>
            <a:lvl1pPr marL="0" indent="0" algn="ctr">
              <a:buNone/>
              <a:defRPr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Tekst</a:t>
            </a:r>
          </a:p>
        </p:txBody>
      </p:sp>
      <p:sp>
        <p:nvSpPr>
          <p:cNvPr id="38" name="Plassholder for tekst 31">
            <a:extLst>
              <a:ext uri="{FF2B5EF4-FFF2-40B4-BE49-F238E27FC236}">
                <a16:creationId xmlns:a16="http://schemas.microsoft.com/office/drawing/2014/main" id="{321AF35D-517D-445E-AED5-D1AEE37C101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72620" y="3838575"/>
            <a:ext cx="1440469" cy="276999"/>
          </a:xfrm>
        </p:spPr>
        <p:txBody>
          <a:bodyPr wrap="square">
            <a:spAutoFit/>
          </a:bodyPr>
          <a:lstStyle>
            <a:lvl1pPr marL="0" indent="0" algn="ctr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Tittel</a:t>
            </a:r>
            <a:endParaRPr lang="en-GB"/>
          </a:p>
        </p:txBody>
      </p:sp>
      <p:sp>
        <p:nvSpPr>
          <p:cNvPr id="39" name="Plassholder for tekst 31">
            <a:extLst>
              <a:ext uri="{FF2B5EF4-FFF2-40B4-BE49-F238E27FC236}">
                <a16:creationId xmlns:a16="http://schemas.microsoft.com/office/drawing/2014/main" id="{37A76E8F-7181-43D1-9694-465C84772C3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17634" y="4253248"/>
            <a:ext cx="1350440" cy="1843521"/>
          </a:xfrm>
        </p:spPr>
        <p:txBody>
          <a:bodyPr wrap="square">
            <a:noAutofit/>
          </a:bodyPr>
          <a:lstStyle>
            <a:lvl1pPr marL="0" indent="0" algn="ctr">
              <a:buNone/>
              <a:defRPr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Tekst</a:t>
            </a:r>
          </a:p>
        </p:txBody>
      </p:sp>
      <p:sp>
        <p:nvSpPr>
          <p:cNvPr id="40" name="Plassholder for tekst 31">
            <a:extLst>
              <a:ext uri="{FF2B5EF4-FFF2-40B4-BE49-F238E27FC236}">
                <a16:creationId xmlns:a16="http://schemas.microsoft.com/office/drawing/2014/main" id="{8D9C43D1-17D2-4B50-AA94-2FE42352B3D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448029" y="3838575"/>
            <a:ext cx="1440469" cy="276999"/>
          </a:xfrm>
        </p:spPr>
        <p:txBody>
          <a:bodyPr wrap="square">
            <a:spAutoFit/>
          </a:bodyPr>
          <a:lstStyle>
            <a:lvl1pPr marL="0" indent="0" algn="ctr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Tittel</a:t>
            </a:r>
            <a:endParaRPr lang="en-GB"/>
          </a:p>
        </p:txBody>
      </p:sp>
      <p:sp>
        <p:nvSpPr>
          <p:cNvPr id="41" name="Plassholder for tekst 31">
            <a:extLst>
              <a:ext uri="{FF2B5EF4-FFF2-40B4-BE49-F238E27FC236}">
                <a16:creationId xmlns:a16="http://schemas.microsoft.com/office/drawing/2014/main" id="{8E9D4B9F-DAE8-41E2-BF81-2EA753E71B0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493044" y="4253248"/>
            <a:ext cx="1350440" cy="1843521"/>
          </a:xfrm>
        </p:spPr>
        <p:txBody>
          <a:bodyPr wrap="square">
            <a:noAutofit/>
          </a:bodyPr>
          <a:lstStyle>
            <a:lvl1pPr marL="0" indent="0" algn="ctr">
              <a:buNone/>
              <a:defRPr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Tekst</a:t>
            </a:r>
          </a:p>
        </p:txBody>
      </p:sp>
      <p:sp>
        <p:nvSpPr>
          <p:cNvPr id="42" name="Plassholder for tekst 31">
            <a:extLst>
              <a:ext uri="{FF2B5EF4-FFF2-40B4-BE49-F238E27FC236}">
                <a16:creationId xmlns:a16="http://schemas.microsoft.com/office/drawing/2014/main" id="{E18131B8-5FD7-4DDE-87D4-6140F07C0BF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023438" y="3838575"/>
            <a:ext cx="1440469" cy="276999"/>
          </a:xfrm>
        </p:spPr>
        <p:txBody>
          <a:bodyPr wrap="square">
            <a:spAutoFit/>
          </a:bodyPr>
          <a:lstStyle>
            <a:lvl1pPr marL="0" indent="0" algn="ctr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Tittel</a:t>
            </a:r>
            <a:endParaRPr lang="en-GB"/>
          </a:p>
        </p:txBody>
      </p:sp>
      <p:sp>
        <p:nvSpPr>
          <p:cNvPr id="43" name="Plassholder for tekst 31">
            <a:extLst>
              <a:ext uri="{FF2B5EF4-FFF2-40B4-BE49-F238E27FC236}">
                <a16:creationId xmlns:a16="http://schemas.microsoft.com/office/drawing/2014/main" id="{BACB2E64-7F86-45DC-A95F-9D625E30BEA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68453" y="4253248"/>
            <a:ext cx="1350440" cy="1843521"/>
          </a:xfrm>
        </p:spPr>
        <p:txBody>
          <a:bodyPr wrap="square">
            <a:noAutofit/>
          </a:bodyPr>
          <a:lstStyle>
            <a:lvl1pPr marL="0" indent="0" algn="ctr">
              <a:buNone/>
              <a:defRPr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Tekst</a:t>
            </a:r>
          </a:p>
        </p:txBody>
      </p:sp>
    </p:spTree>
    <p:extLst>
      <p:ext uri="{BB962C8B-B14F-4D97-AF65-F5344CB8AC3E}">
        <p14:creationId xmlns:p14="http://schemas.microsoft.com/office/powerpoint/2010/main" val="87737210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sess grønn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k 6">
            <a:extLst>
              <a:ext uri="{FF2B5EF4-FFF2-40B4-BE49-F238E27FC236}">
                <a16:creationId xmlns:a16="http://schemas.microsoft.com/office/drawing/2014/main" id="{57AF7F2C-3ABD-4B0E-B01E-F6EC1BD748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52198" y="261706"/>
            <a:ext cx="11687604" cy="6349892"/>
          </a:xfrm>
          <a:prstGeom prst="rect">
            <a:avLst/>
          </a:prstGeom>
        </p:spPr>
      </p:pic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EBFF2865-48EB-41EE-BA6F-F27FF7886D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/>
          <a:lstStyle/>
          <a:p>
            <a:fld id="{01FAC9E0-EE97-3644-92E7-3181EF6C645A}" type="datetime1">
              <a:t>06.06.2024</a:t>
            </a:fld>
            <a:endParaRPr lang="en-GB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675802EF-3313-4DAD-9E50-7758CF0D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esentasjonens eller kapittelets tittel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1616A2F1-3466-4B56-8B68-9F2EB48360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6A6BCC-FF39-42D9-ACE8-4D7C31198930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6819067D-574C-4E99-BFFF-1F39199E0D8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682247" y="6096768"/>
            <a:ext cx="509753" cy="509588"/>
          </a:xfrm>
          <a:prstGeom prst="rect">
            <a:avLst/>
          </a:prstGeom>
        </p:spPr>
      </p:pic>
      <p:cxnSp>
        <p:nvCxnSpPr>
          <p:cNvPr id="9" name="Rett linje 8">
            <a:extLst>
              <a:ext uri="{FF2B5EF4-FFF2-40B4-BE49-F238E27FC236}">
                <a16:creationId xmlns:a16="http://schemas.microsoft.com/office/drawing/2014/main" id="{BCFA2601-0A65-444B-ADC2-03BAF2DB179B}"/>
              </a:ext>
            </a:extLst>
          </p:cNvPr>
          <p:cNvCxnSpPr/>
          <p:nvPr userDrawn="1"/>
        </p:nvCxnSpPr>
        <p:spPr>
          <a:xfrm>
            <a:off x="11326075" y="6230128"/>
            <a:ext cx="0" cy="241200"/>
          </a:xfrm>
          <a:prstGeom prst="line">
            <a:avLst/>
          </a:prstGeom>
          <a:ln w="12700">
            <a:solidFill>
              <a:schemeClr val="l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lassholder for tekst 20">
            <a:extLst>
              <a:ext uri="{FF2B5EF4-FFF2-40B4-BE49-F238E27FC236}">
                <a16:creationId xmlns:a16="http://schemas.microsoft.com/office/drawing/2014/main" id="{5E215ED9-1CEB-48EA-B736-43316F5D96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8225" y="1574999"/>
            <a:ext cx="1867622" cy="1867015"/>
          </a:xfrm>
          <a:prstGeom prst="ellipse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#</a:t>
            </a:r>
          </a:p>
        </p:txBody>
      </p:sp>
      <p:sp>
        <p:nvSpPr>
          <p:cNvPr id="27" name="Plassholder for tekst 20">
            <a:extLst>
              <a:ext uri="{FF2B5EF4-FFF2-40B4-BE49-F238E27FC236}">
                <a16:creationId xmlns:a16="http://schemas.microsoft.com/office/drawing/2014/main" id="{E9A6D60F-4B62-4F8D-8126-077BB6071D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59043" y="1574999"/>
            <a:ext cx="1867622" cy="1867015"/>
          </a:xfrm>
          <a:prstGeom prst="ellipse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#</a:t>
            </a:r>
          </a:p>
        </p:txBody>
      </p:sp>
      <p:sp>
        <p:nvSpPr>
          <p:cNvPr id="28" name="Plassholder for tekst 20">
            <a:extLst>
              <a:ext uri="{FF2B5EF4-FFF2-40B4-BE49-F238E27FC236}">
                <a16:creationId xmlns:a16="http://schemas.microsoft.com/office/drawing/2014/main" id="{28B09960-5D12-428F-92E7-C2E5356610D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09862" y="1574999"/>
            <a:ext cx="1867622" cy="1867015"/>
          </a:xfrm>
          <a:prstGeom prst="ellipse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#</a:t>
            </a:r>
          </a:p>
        </p:txBody>
      </p:sp>
      <p:sp>
        <p:nvSpPr>
          <p:cNvPr id="29" name="Plassholder for tekst 20">
            <a:extLst>
              <a:ext uri="{FF2B5EF4-FFF2-40B4-BE49-F238E27FC236}">
                <a16:creationId xmlns:a16="http://schemas.microsoft.com/office/drawing/2014/main" id="{84778EA6-ECA2-4204-BA90-7D966AACB8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83634" y="1574999"/>
            <a:ext cx="1867622" cy="1867015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#</a:t>
            </a:r>
          </a:p>
        </p:txBody>
      </p:sp>
      <p:sp>
        <p:nvSpPr>
          <p:cNvPr id="30" name="Plassholder for tekst 20">
            <a:extLst>
              <a:ext uri="{FF2B5EF4-FFF2-40B4-BE49-F238E27FC236}">
                <a16:creationId xmlns:a16="http://schemas.microsoft.com/office/drawing/2014/main" id="{D2ECCBD4-778D-4F64-A78C-6A9C9E8341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34452" y="1574999"/>
            <a:ext cx="1867622" cy="1867015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#</a:t>
            </a:r>
          </a:p>
        </p:txBody>
      </p:sp>
      <p:sp>
        <p:nvSpPr>
          <p:cNvPr id="32" name="Plassholder for tekst 31">
            <a:extLst>
              <a:ext uri="{FF2B5EF4-FFF2-40B4-BE49-F238E27FC236}">
                <a16:creationId xmlns:a16="http://schemas.microsoft.com/office/drawing/2014/main" id="{A31E3218-16DE-42E2-8BB9-63921C9698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1801" y="3838575"/>
            <a:ext cx="1440469" cy="276999"/>
          </a:xfrm>
        </p:spPr>
        <p:txBody>
          <a:bodyPr wrap="square">
            <a:spAutoFit/>
          </a:bodyPr>
          <a:lstStyle>
            <a:lvl1pPr marL="0" indent="0" algn="ctr">
              <a:buNone/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nb-NO"/>
              <a:t>Tittel</a:t>
            </a:r>
            <a:endParaRPr lang="en-GB"/>
          </a:p>
        </p:txBody>
      </p:sp>
      <p:sp>
        <p:nvSpPr>
          <p:cNvPr id="33" name="Plassholder for tekst 31">
            <a:extLst>
              <a:ext uri="{FF2B5EF4-FFF2-40B4-BE49-F238E27FC236}">
                <a16:creationId xmlns:a16="http://schemas.microsoft.com/office/drawing/2014/main" id="{FD7AA2AE-A2C4-44CB-9250-263CF6397A8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6816" y="4253248"/>
            <a:ext cx="1350440" cy="1843521"/>
          </a:xfrm>
        </p:spPr>
        <p:txBody>
          <a:bodyPr wrap="square">
            <a:noAutofit/>
          </a:bodyPr>
          <a:lstStyle>
            <a:lvl1pPr marL="0" indent="0" algn="ctr">
              <a:buNone/>
              <a:defRPr b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/>
              <a:t>Tekst</a:t>
            </a:r>
          </a:p>
        </p:txBody>
      </p:sp>
      <p:sp>
        <p:nvSpPr>
          <p:cNvPr id="36" name="Plassholder for tekst 31">
            <a:extLst>
              <a:ext uri="{FF2B5EF4-FFF2-40B4-BE49-F238E27FC236}">
                <a16:creationId xmlns:a16="http://schemas.microsoft.com/office/drawing/2014/main" id="{76BC04BD-7578-4608-84B5-C5D9179F36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297211" y="3838575"/>
            <a:ext cx="1440469" cy="276999"/>
          </a:xfrm>
        </p:spPr>
        <p:txBody>
          <a:bodyPr wrap="square">
            <a:spAutoFit/>
          </a:bodyPr>
          <a:lstStyle>
            <a:lvl1pPr marL="0" indent="0" algn="ctr">
              <a:buNone/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nb-NO"/>
              <a:t>Tittel</a:t>
            </a:r>
            <a:endParaRPr lang="en-GB"/>
          </a:p>
        </p:txBody>
      </p:sp>
      <p:sp>
        <p:nvSpPr>
          <p:cNvPr id="37" name="Plassholder for tekst 31">
            <a:extLst>
              <a:ext uri="{FF2B5EF4-FFF2-40B4-BE49-F238E27FC236}">
                <a16:creationId xmlns:a16="http://schemas.microsoft.com/office/drawing/2014/main" id="{D2FA771A-C603-4FA7-8A03-00FA7F04892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42225" y="4253248"/>
            <a:ext cx="1350440" cy="1843521"/>
          </a:xfrm>
        </p:spPr>
        <p:txBody>
          <a:bodyPr wrap="square">
            <a:noAutofit/>
          </a:bodyPr>
          <a:lstStyle>
            <a:lvl1pPr marL="0" indent="0" algn="ctr">
              <a:buNone/>
              <a:defRPr b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/>
              <a:t>Tekst</a:t>
            </a:r>
          </a:p>
        </p:txBody>
      </p:sp>
      <p:sp>
        <p:nvSpPr>
          <p:cNvPr id="38" name="Plassholder for tekst 31">
            <a:extLst>
              <a:ext uri="{FF2B5EF4-FFF2-40B4-BE49-F238E27FC236}">
                <a16:creationId xmlns:a16="http://schemas.microsoft.com/office/drawing/2014/main" id="{321AF35D-517D-445E-AED5-D1AEE37C101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72620" y="3838575"/>
            <a:ext cx="1440469" cy="276999"/>
          </a:xfrm>
        </p:spPr>
        <p:txBody>
          <a:bodyPr wrap="square">
            <a:spAutoFit/>
          </a:bodyPr>
          <a:lstStyle>
            <a:lvl1pPr marL="0" indent="0" algn="ctr">
              <a:buNone/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nb-NO"/>
              <a:t>Tittel</a:t>
            </a:r>
            <a:endParaRPr lang="en-GB"/>
          </a:p>
        </p:txBody>
      </p:sp>
      <p:sp>
        <p:nvSpPr>
          <p:cNvPr id="39" name="Plassholder for tekst 31">
            <a:extLst>
              <a:ext uri="{FF2B5EF4-FFF2-40B4-BE49-F238E27FC236}">
                <a16:creationId xmlns:a16="http://schemas.microsoft.com/office/drawing/2014/main" id="{37A76E8F-7181-43D1-9694-465C84772C3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17634" y="4253248"/>
            <a:ext cx="1350440" cy="1843521"/>
          </a:xfrm>
        </p:spPr>
        <p:txBody>
          <a:bodyPr wrap="square">
            <a:noAutofit/>
          </a:bodyPr>
          <a:lstStyle>
            <a:lvl1pPr marL="0" indent="0" algn="ctr">
              <a:buNone/>
              <a:defRPr b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/>
              <a:t>Tekst</a:t>
            </a:r>
          </a:p>
        </p:txBody>
      </p:sp>
      <p:sp>
        <p:nvSpPr>
          <p:cNvPr id="40" name="Plassholder for tekst 31">
            <a:extLst>
              <a:ext uri="{FF2B5EF4-FFF2-40B4-BE49-F238E27FC236}">
                <a16:creationId xmlns:a16="http://schemas.microsoft.com/office/drawing/2014/main" id="{8D9C43D1-17D2-4B50-AA94-2FE42352B3D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448029" y="3838575"/>
            <a:ext cx="1440469" cy="276999"/>
          </a:xfrm>
        </p:spPr>
        <p:txBody>
          <a:bodyPr wrap="square">
            <a:spAutoFit/>
          </a:bodyPr>
          <a:lstStyle>
            <a:lvl1pPr marL="0" indent="0" algn="ctr">
              <a:buNone/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nb-NO"/>
              <a:t>Tittel</a:t>
            </a:r>
            <a:endParaRPr lang="en-GB"/>
          </a:p>
        </p:txBody>
      </p:sp>
      <p:sp>
        <p:nvSpPr>
          <p:cNvPr id="41" name="Plassholder for tekst 31">
            <a:extLst>
              <a:ext uri="{FF2B5EF4-FFF2-40B4-BE49-F238E27FC236}">
                <a16:creationId xmlns:a16="http://schemas.microsoft.com/office/drawing/2014/main" id="{8E9D4B9F-DAE8-41E2-BF81-2EA753E71B0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493044" y="4253248"/>
            <a:ext cx="1350440" cy="1843521"/>
          </a:xfrm>
        </p:spPr>
        <p:txBody>
          <a:bodyPr wrap="square">
            <a:noAutofit/>
          </a:bodyPr>
          <a:lstStyle>
            <a:lvl1pPr marL="0" indent="0" algn="ctr">
              <a:buNone/>
              <a:defRPr b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/>
              <a:t>Tekst</a:t>
            </a:r>
          </a:p>
        </p:txBody>
      </p:sp>
      <p:sp>
        <p:nvSpPr>
          <p:cNvPr id="42" name="Plassholder for tekst 31">
            <a:extLst>
              <a:ext uri="{FF2B5EF4-FFF2-40B4-BE49-F238E27FC236}">
                <a16:creationId xmlns:a16="http://schemas.microsoft.com/office/drawing/2014/main" id="{E18131B8-5FD7-4DDE-87D4-6140F07C0BF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023438" y="3838575"/>
            <a:ext cx="1440469" cy="276999"/>
          </a:xfrm>
        </p:spPr>
        <p:txBody>
          <a:bodyPr wrap="square">
            <a:spAutoFit/>
          </a:bodyPr>
          <a:lstStyle>
            <a:lvl1pPr marL="0" indent="0" algn="ctr">
              <a:buNone/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nb-NO"/>
              <a:t>Tittel</a:t>
            </a:r>
            <a:endParaRPr lang="en-GB"/>
          </a:p>
        </p:txBody>
      </p:sp>
      <p:sp>
        <p:nvSpPr>
          <p:cNvPr id="43" name="Plassholder for tekst 31">
            <a:extLst>
              <a:ext uri="{FF2B5EF4-FFF2-40B4-BE49-F238E27FC236}">
                <a16:creationId xmlns:a16="http://schemas.microsoft.com/office/drawing/2014/main" id="{BACB2E64-7F86-45DC-A95F-9D625E30BEA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68453" y="4253248"/>
            <a:ext cx="1350440" cy="1843521"/>
          </a:xfrm>
        </p:spPr>
        <p:txBody>
          <a:bodyPr wrap="square">
            <a:noAutofit/>
          </a:bodyPr>
          <a:lstStyle>
            <a:lvl1pPr marL="0" indent="0" algn="ctr">
              <a:buNone/>
              <a:defRPr b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/>
              <a:t>Tekst</a:t>
            </a:r>
          </a:p>
        </p:txBody>
      </p:sp>
    </p:spTree>
    <p:extLst>
      <p:ext uri="{BB962C8B-B14F-4D97-AF65-F5344CB8AC3E}">
        <p14:creationId xmlns:p14="http://schemas.microsoft.com/office/powerpoint/2010/main" val="87630792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mmenlignin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k 6">
            <a:extLst>
              <a:ext uri="{FF2B5EF4-FFF2-40B4-BE49-F238E27FC236}">
                <a16:creationId xmlns:a16="http://schemas.microsoft.com/office/drawing/2014/main" id="{57AF7F2C-3ABD-4B0E-B01E-F6EC1BD748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52198" y="261706"/>
            <a:ext cx="11687604" cy="6349892"/>
          </a:xfrm>
          <a:prstGeom prst="rect">
            <a:avLst/>
          </a:prstGeom>
        </p:spPr>
      </p:pic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EBFF2865-48EB-41EE-BA6F-F27FF7886D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887BFC-23E3-9646-9DAB-0FA6BF1B6988}" type="datetime1">
              <a:t>06.06.2024</a:t>
            </a:fld>
            <a:endParaRPr lang="en-GB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675802EF-3313-4DAD-9E50-7758CF0D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esentasjonens eller kapittelets tittel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1616A2F1-3466-4B56-8B68-9F2EB48360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6A6BCC-FF39-42D9-ACE8-4D7C31198930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6819067D-574C-4E99-BFFF-1F39199E0D8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682247" y="6096768"/>
            <a:ext cx="509753" cy="509588"/>
          </a:xfrm>
          <a:prstGeom prst="rect">
            <a:avLst/>
          </a:prstGeom>
        </p:spPr>
      </p:pic>
      <p:cxnSp>
        <p:nvCxnSpPr>
          <p:cNvPr id="9" name="Rett linje 8">
            <a:extLst>
              <a:ext uri="{FF2B5EF4-FFF2-40B4-BE49-F238E27FC236}">
                <a16:creationId xmlns:a16="http://schemas.microsoft.com/office/drawing/2014/main" id="{BCFA2601-0A65-444B-ADC2-03BAF2DB179B}"/>
              </a:ext>
            </a:extLst>
          </p:cNvPr>
          <p:cNvCxnSpPr/>
          <p:nvPr userDrawn="1"/>
        </p:nvCxnSpPr>
        <p:spPr>
          <a:xfrm>
            <a:off x="11326075" y="6230128"/>
            <a:ext cx="0" cy="241200"/>
          </a:xfrm>
          <a:prstGeom prst="line">
            <a:avLst/>
          </a:prstGeom>
          <a:ln w="12700">
            <a:solidFill>
              <a:schemeClr val="l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lassholder for tekst 20">
            <a:extLst>
              <a:ext uri="{FF2B5EF4-FFF2-40B4-BE49-F238E27FC236}">
                <a16:creationId xmlns:a16="http://schemas.microsoft.com/office/drawing/2014/main" id="{5E215ED9-1CEB-48EA-B736-43316F5D96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8225" y="1392119"/>
            <a:ext cx="4354431" cy="4352400"/>
          </a:xfrm>
          <a:prstGeom prst="ellipse">
            <a:avLst/>
          </a:prstGeom>
          <a:solidFill>
            <a:schemeClr val="accent2"/>
          </a:solidFill>
        </p:spPr>
        <p:txBody>
          <a:bodyPr lIns="90000" tIns="90000" rIns="90000" bIns="90000" anchor="ctr">
            <a:normAutofit/>
          </a:bodyPr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#</a:t>
            </a:r>
          </a:p>
        </p:txBody>
      </p:sp>
      <p:sp>
        <p:nvSpPr>
          <p:cNvPr id="29" name="Plassholder for tekst 20">
            <a:extLst>
              <a:ext uri="{FF2B5EF4-FFF2-40B4-BE49-F238E27FC236}">
                <a16:creationId xmlns:a16="http://schemas.microsoft.com/office/drawing/2014/main" id="{84778EA6-ECA2-4204-BA90-7D966AACB8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42705" y="1392119"/>
            <a:ext cx="4354431" cy="4352400"/>
          </a:xfrm>
          <a:prstGeom prst="ellipse">
            <a:avLst/>
          </a:prstGeom>
          <a:solidFill>
            <a:srgbClr val="554CFD"/>
          </a:solidFill>
        </p:spPr>
        <p:txBody>
          <a:bodyPr lIns="90000" tIns="90000" rIns="90000" bIns="90000" anchor="ctr">
            <a:normAutofit/>
          </a:bodyPr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#</a:t>
            </a:r>
          </a:p>
        </p:txBody>
      </p:sp>
      <p:sp>
        <p:nvSpPr>
          <p:cNvPr id="32" name="Plassholder for tekst 31">
            <a:extLst>
              <a:ext uri="{FF2B5EF4-FFF2-40B4-BE49-F238E27FC236}">
                <a16:creationId xmlns:a16="http://schemas.microsoft.com/office/drawing/2014/main" id="{A31E3218-16DE-42E2-8BB9-63921C9698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171" y="850004"/>
            <a:ext cx="3601172" cy="276999"/>
          </a:xfrm>
        </p:spPr>
        <p:txBody>
          <a:bodyPr wrap="square">
            <a:spAutoFit/>
          </a:bodyPr>
          <a:lstStyle>
            <a:lvl1pPr marL="0" indent="0" algn="ctr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Tittel</a:t>
            </a:r>
            <a:endParaRPr lang="en-GB"/>
          </a:p>
        </p:txBody>
      </p:sp>
      <p:sp>
        <p:nvSpPr>
          <p:cNvPr id="36" name="Plassholder for tekst 31">
            <a:extLst>
              <a:ext uri="{FF2B5EF4-FFF2-40B4-BE49-F238E27FC236}">
                <a16:creationId xmlns:a16="http://schemas.microsoft.com/office/drawing/2014/main" id="{76BC04BD-7578-4608-84B5-C5D9179F36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19334" y="836482"/>
            <a:ext cx="3601172" cy="276999"/>
          </a:xfrm>
        </p:spPr>
        <p:txBody>
          <a:bodyPr wrap="square">
            <a:spAutoFit/>
          </a:bodyPr>
          <a:lstStyle>
            <a:lvl1pPr marL="0" indent="0" algn="ctr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Titt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075515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mmenligning grønn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k 6">
            <a:extLst>
              <a:ext uri="{FF2B5EF4-FFF2-40B4-BE49-F238E27FC236}">
                <a16:creationId xmlns:a16="http://schemas.microsoft.com/office/drawing/2014/main" id="{57AF7F2C-3ABD-4B0E-B01E-F6EC1BD748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52198" y="261706"/>
            <a:ext cx="11687604" cy="6349892"/>
          </a:xfrm>
          <a:prstGeom prst="rect">
            <a:avLst/>
          </a:prstGeom>
        </p:spPr>
      </p:pic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EBFF2865-48EB-41EE-BA6F-F27FF7886D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887BFC-23E3-9646-9DAB-0FA6BF1B6988}" type="datetime1">
              <a:t>06.06.2024</a:t>
            </a:fld>
            <a:endParaRPr lang="en-GB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675802EF-3313-4DAD-9E50-7758CF0D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esentasjonens eller kapittelets tittel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1616A2F1-3466-4B56-8B68-9F2EB48360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6A6BCC-FF39-42D9-ACE8-4D7C31198930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6819067D-574C-4E99-BFFF-1F39199E0D8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682247" y="6096768"/>
            <a:ext cx="509753" cy="509588"/>
          </a:xfrm>
          <a:prstGeom prst="rect">
            <a:avLst/>
          </a:prstGeom>
        </p:spPr>
      </p:pic>
      <p:cxnSp>
        <p:nvCxnSpPr>
          <p:cNvPr id="9" name="Rett linje 8">
            <a:extLst>
              <a:ext uri="{FF2B5EF4-FFF2-40B4-BE49-F238E27FC236}">
                <a16:creationId xmlns:a16="http://schemas.microsoft.com/office/drawing/2014/main" id="{BCFA2601-0A65-444B-ADC2-03BAF2DB179B}"/>
              </a:ext>
            </a:extLst>
          </p:cNvPr>
          <p:cNvCxnSpPr/>
          <p:nvPr userDrawn="1"/>
        </p:nvCxnSpPr>
        <p:spPr>
          <a:xfrm>
            <a:off x="11326075" y="6230128"/>
            <a:ext cx="0" cy="241200"/>
          </a:xfrm>
          <a:prstGeom prst="line">
            <a:avLst/>
          </a:prstGeom>
          <a:ln w="12700">
            <a:solidFill>
              <a:schemeClr val="l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lassholder for tekst 20">
            <a:extLst>
              <a:ext uri="{FF2B5EF4-FFF2-40B4-BE49-F238E27FC236}">
                <a16:creationId xmlns:a16="http://schemas.microsoft.com/office/drawing/2014/main" id="{5E215ED9-1CEB-48EA-B736-43316F5D96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8225" y="1392119"/>
            <a:ext cx="4354431" cy="4352400"/>
          </a:xfrm>
          <a:prstGeom prst="ellipse">
            <a:avLst/>
          </a:prstGeom>
          <a:solidFill>
            <a:srgbClr val="337A5C"/>
          </a:solidFill>
        </p:spPr>
        <p:txBody>
          <a:bodyPr lIns="90000" tIns="90000" rIns="90000" bIns="90000" anchor="ctr">
            <a:normAutofit/>
          </a:bodyPr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#</a:t>
            </a:r>
          </a:p>
        </p:txBody>
      </p:sp>
      <p:sp>
        <p:nvSpPr>
          <p:cNvPr id="29" name="Plassholder for tekst 20">
            <a:extLst>
              <a:ext uri="{FF2B5EF4-FFF2-40B4-BE49-F238E27FC236}">
                <a16:creationId xmlns:a16="http://schemas.microsoft.com/office/drawing/2014/main" id="{84778EA6-ECA2-4204-BA90-7D966AACB8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42705" y="1392119"/>
            <a:ext cx="4354431" cy="4352400"/>
          </a:xfrm>
          <a:prstGeom prst="ellipse">
            <a:avLst/>
          </a:prstGeom>
          <a:solidFill>
            <a:schemeClr val="accent1"/>
          </a:solidFill>
        </p:spPr>
        <p:txBody>
          <a:bodyPr lIns="90000" tIns="90000" rIns="90000" bIns="90000" anchor="ctr">
            <a:normAutofit/>
          </a:bodyPr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#</a:t>
            </a:r>
          </a:p>
        </p:txBody>
      </p:sp>
      <p:sp>
        <p:nvSpPr>
          <p:cNvPr id="32" name="Plassholder for tekst 31">
            <a:extLst>
              <a:ext uri="{FF2B5EF4-FFF2-40B4-BE49-F238E27FC236}">
                <a16:creationId xmlns:a16="http://schemas.microsoft.com/office/drawing/2014/main" id="{A31E3218-16DE-42E2-8BB9-63921C9698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171" y="850004"/>
            <a:ext cx="3601172" cy="276999"/>
          </a:xfrm>
        </p:spPr>
        <p:txBody>
          <a:bodyPr wrap="square">
            <a:spAutoFit/>
          </a:bodyPr>
          <a:lstStyle>
            <a:lvl1pPr marL="0" indent="0" algn="ctr">
              <a:buNone/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nb-NO"/>
              <a:t>Tittel</a:t>
            </a:r>
            <a:endParaRPr lang="en-GB"/>
          </a:p>
        </p:txBody>
      </p:sp>
      <p:sp>
        <p:nvSpPr>
          <p:cNvPr id="36" name="Plassholder for tekst 31">
            <a:extLst>
              <a:ext uri="{FF2B5EF4-FFF2-40B4-BE49-F238E27FC236}">
                <a16:creationId xmlns:a16="http://schemas.microsoft.com/office/drawing/2014/main" id="{76BC04BD-7578-4608-84B5-C5D9179F36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19334" y="836482"/>
            <a:ext cx="3601172" cy="276999"/>
          </a:xfrm>
        </p:spPr>
        <p:txBody>
          <a:bodyPr wrap="square">
            <a:spAutoFit/>
          </a:bodyPr>
          <a:lstStyle>
            <a:lvl1pPr marL="0" indent="0" algn="ctr">
              <a:buNone/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nb-NO"/>
              <a:t>Titt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707686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på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bilde 10">
            <a:extLst>
              <a:ext uri="{FF2B5EF4-FFF2-40B4-BE49-F238E27FC236}">
                <a16:creationId xmlns:a16="http://schemas.microsoft.com/office/drawing/2014/main" id="{3F7E708B-D066-4A8C-A430-D0A7FD91CC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3292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225" y="2377414"/>
            <a:ext cx="5335677" cy="1828193"/>
          </a:xfrm>
        </p:spPr>
        <p:txBody>
          <a:bodyPr wrap="square" lIns="0" tIns="0" rIns="0" bIns="0">
            <a:noAutofit/>
          </a:bodyPr>
          <a:lstStyle>
            <a:lvl1pPr>
              <a:defRPr sz="440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1B4223F4-0147-F641-84A0-66FD34A81A3E}" type="datetime1">
              <a:t>06.06.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en-GB"/>
              <a:t>Presentasjonens eller kapittelets titt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C6A6BCC-FF39-42D9-ACE8-4D7C3119893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2" name="Plassholder for tekst 29">
            <a:extLst>
              <a:ext uri="{FF2B5EF4-FFF2-40B4-BE49-F238E27FC236}">
                <a16:creationId xmlns:a16="http://schemas.microsoft.com/office/drawing/2014/main" id="{467C46CA-B925-4F9D-9892-3BE03A88CE0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11682247" y="6096768"/>
            <a:ext cx="509753" cy="50958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  <p:sp>
        <p:nvSpPr>
          <p:cNvPr id="26" name="Plassholder for tekst 29">
            <a:extLst>
              <a:ext uri="{FF2B5EF4-FFF2-40B4-BE49-F238E27FC236}">
                <a16:creationId xmlns:a16="http://schemas.microsoft.com/office/drawing/2014/main" id="{9C07BABA-FE02-49A3-8612-5A4D1589C4C0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11320411" y="6230098"/>
            <a:ext cx="12606" cy="24123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569827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på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media 5">
            <a:extLst>
              <a:ext uri="{FF2B5EF4-FFF2-40B4-BE49-F238E27FC236}">
                <a16:creationId xmlns:a16="http://schemas.microsoft.com/office/drawing/2014/main" id="{A2B6FA41-C14D-41AA-AB30-6487DB3FA852}"/>
              </a:ext>
            </a:extLst>
          </p:cNvPr>
          <p:cNvSpPr>
            <a:spLocks noGrp="1"/>
          </p:cNvSpPr>
          <p:nvPr>
            <p:ph type="media" sz="quarter" idx="17"/>
          </p:nvPr>
        </p:nvSpPr>
        <p:spPr>
          <a:xfrm>
            <a:off x="-1" y="-1"/>
            <a:ext cx="12193293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lIns="0" tIns="0" rIns="0" bIns="0"/>
          <a:lstStyle/>
          <a:p>
            <a:r>
              <a:rPr lang="nb-NO"/>
              <a:t>Klikk ikonet for å legge til media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225" y="2377414"/>
            <a:ext cx="5335677" cy="1828193"/>
          </a:xfrm>
        </p:spPr>
        <p:txBody>
          <a:bodyPr wrap="square" lIns="0" tIns="0" rIns="0" bIns="0">
            <a:noAutofit/>
          </a:bodyPr>
          <a:lstStyle>
            <a:lvl1pPr>
              <a:defRPr sz="440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CBB37990-FA76-BA47-B3E5-94432D474684}" type="datetime1">
              <a:t>06.06.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en-GB"/>
              <a:t>Presentasjonens eller kapittelets titt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C6A6BCC-FF39-42D9-ACE8-4D7C3119893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2" name="Plassholder for tekst 29">
            <a:extLst>
              <a:ext uri="{FF2B5EF4-FFF2-40B4-BE49-F238E27FC236}">
                <a16:creationId xmlns:a16="http://schemas.microsoft.com/office/drawing/2014/main" id="{467C46CA-B925-4F9D-9892-3BE03A88CE0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11682247" y="6096768"/>
            <a:ext cx="509753" cy="50958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  <p:sp>
        <p:nvSpPr>
          <p:cNvPr id="26" name="Plassholder for tekst 29">
            <a:extLst>
              <a:ext uri="{FF2B5EF4-FFF2-40B4-BE49-F238E27FC236}">
                <a16:creationId xmlns:a16="http://schemas.microsoft.com/office/drawing/2014/main" id="{9C07BABA-FE02-49A3-8612-5A4D1589C4C0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11320411" y="6230098"/>
            <a:ext cx="12606" cy="24123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572449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225" y="479337"/>
            <a:ext cx="9428774" cy="7755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14DB3EE4-AA3B-F54E-B7B5-120D494115C1}" type="datetime1">
              <a:t>06.06.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en-GB"/>
              <a:t>Presentasjonens eller kapittelets titt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C6A6BCC-FF39-42D9-ACE8-4D7C31198930}" type="slidenum">
              <a:rPr lang="en-GB" smtClean="0"/>
              <a:t>‹#›</a:t>
            </a:fld>
            <a:endParaRPr lang="en-GB"/>
          </a:p>
        </p:txBody>
      </p:sp>
      <p:sp>
        <p:nvSpPr>
          <p:cNvPr id="9" name="Frihåndsform: figur 8">
            <a:extLst>
              <a:ext uri="{FF2B5EF4-FFF2-40B4-BE49-F238E27FC236}">
                <a16:creationId xmlns:a16="http://schemas.microsoft.com/office/drawing/2014/main" id="{A5A3076C-020C-46B3-9627-40067259DBE0}"/>
              </a:ext>
            </a:extLst>
          </p:cNvPr>
          <p:cNvSpPr/>
          <p:nvPr/>
        </p:nvSpPr>
        <p:spPr>
          <a:xfrm>
            <a:off x="10448824" y="0"/>
            <a:ext cx="1746812" cy="1746244"/>
          </a:xfrm>
          <a:custGeom>
            <a:avLst/>
            <a:gdLst>
              <a:gd name="connsiteX0" fmla="*/ 367 w 3492487"/>
              <a:gd name="connsiteY0" fmla="*/ 0 h 3492488"/>
              <a:gd name="connsiteX1" fmla="*/ 3492855 w 3492487"/>
              <a:gd name="connsiteY1" fmla="*/ 3492488 h 3492488"/>
              <a:gd name="connsiteX2" fmla="*/ 3492855 w 3492487"/>
              <a:gd name="connsiteY2" fmla="*/ 0 h 3492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2487" h="3492488">
                <a:moveTo>
                  <a:pt x="367" y="0"/>
                </a:moveTo>
                <a:cubicBezTo>
                  <a:pt x="367" y="1928870"/>
                  <a:pt x="1563986" y="3492488"/>
                  <a:pt x="3492855" y="3492488"/>
                </a:cubicBezTo>
                <a:lnTo>
                  <a:pt x="3492855" y="0"/>
                </a:lnTo>
                <a:close/>
              </a:path>
            </a:pathLst>
          </a:custGeom>
          <a:solidFill>
            <a:schemeClr val="lt2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450"/>
          </a:p>
        </p:txBody>
      </p:sp>
      <p:sp>
        <p:nvSpPr>
          <p:cNvPr id="13" name="Frihåndsform: figur 12">
            <a:extLst>
              <a:ext uri="{FF2B5EF4-FFF2-40B4-BE49-F238E27FC236}">
                <a16:creationId xmlns:a16="http://schemas.microsoft.com/office/drawing/2014/main" id="{ABC5F55F-5983-487D-A0C6-07FE474F2A87}"/>
              </a:ext>
            </a:extLst>
          </p:cNvPr>
          <p:cNvSpPr/>
          <p:nvPr/>
        </p:nvSpPr>
        <p:spPr>
          <a:xfrm>
            <a:off x="2" y="3219439"/>
            <a:ext cx="7022164" cy="3638561"/>
          </a:xfrm>
          <a:custGeom>
            <a:avLst/>
            <a:gdLst>
              <a:gd name="connsiteX0" fmla="*/ 4819416 w 14039757"/>
              <a:gd name="connsiteY0" fmla="*/ 0 h 7277122"/>
              <a:gd name="connsiteX1" fmla="*/ 14001460 w 14039757"/>
              <a:gd name="connsiteY1" fmla="*/ 7111191 h 7277122"/>
              <a:gd name="connsiteX2" fmla="*/ 14039757 w 14039757"/>
              <a:gd name="connsiteY2" fmla="*/ 7277122 h 7277122"/>
              <a:gd name="connsiteX3" fmla="*/ 0 w 14039757"/>
              <a:gd name="connsiteY3" fmla="*/ 7277122 h 7277122"/>
              <a:gd name="connsiteX4" fmla="*/ 0 w 14039757"/>
              <a:gd name="connsiteY4" fmla="*/ 1316999 h 7277122"/>
              <a:gd name="connsiteX5" fmla="*/ 300442 w 14039757"/>
              <a:gd name="connsiteY5" fmla="*/ 1144249 h 7277122"/>
              <a:gd name="connsiteX6" fmla="*/ 4819416 w 14039757"/>
              <a:gd name="connsiteY6" fmla="*/ 0 h 72771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039757" h="7277122">
                <a:moveTo>
                  <a:pt x="4819416" y="0"/>
                </a:moveTo>
                <a:cubicBezTo>
                  <a:pt x="9237239" y="0"/>
                  <a:pt x="12949299" y="3021775"/>
                  <a:pt x="14001460" y="7111191"/>
                </a:cubicBezTo>
                <a:lnTo>
                  <a:pt x="14039757" y="7277122"/>
                </a:lnTo>
                <a:lnTo>
                  <a:pt x="0" y="7277122"/>
                </a:lnTo>
                <a:lnTo>
                  <a:pt x="0" y="1316999"/>
                </a:lnTo>
                <a:lnTo>
                  <a:pt x="300442" y="1144249"/>
                </a:lnTo>
                <a:cubicBezTo>
                  <a:pt x="1643767" y="414510"/>
                  <a:pt x="3183185" y="0"/>
                  <a:pt x="4819416" y="0"/>
                </a:cubicBezTo>
                <a:close/>
              </a:path>
            </a:pathLst>
          </a:custGeom>
          <a:solidFill>
            <a:schemeClr val="lt2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450"/>
          </a:p>
        </p:txBody>
      </p:sp>
      <p:sp>
        <p:nvSpPr>
          <p:cNvPr id="15" name="Plassholder for bilde 14">
            <a:extLst>
              <a:ext uri="{FF2B5EF4-FFF2-40B4-BE49-F238E27FC236}">
                <a16:creationId xmlns:a16="http://schemas.microsoft.com/office/drawing/2014/main" id="{D709A46D-5815-4D3F-BA66-48BBFF8105C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629913" y="1428929"/>
            <a:ext cx="4937248" cy="493564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54182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225" y="479338"/>
            <a:ext cx="11178038" cy="775597"/>
          </a:xfr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224" y="1657985"/>
            <a:ext cx="11178038" cy="4351338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3129ECF1-F0D3-4CD8-9C78-0C81B2D5F5E5}" type="datetimeFigureOut">
              <a:rPr lang="nb-NO" smtClean="0"/>
              <a:t>06.06.2024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4409EF66-46AA-4080-844D-5B92F1A6B3C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9908239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tfallende bilde med tittel">
    <p:bg>
      <p:bgPr>
        <a:solidFill>
          <a:schemeClr val="l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llipse 23">
            <a:extLst>
              <a:ext uri="{FF2B5EF4-FFF2-40B4-BE49-F238E27FC236}">
                <a16:creationId xmlns:a16="http://schemas.microsoft.com/office/drawing/2014/main" id="{25F115B0-8BEE-4D68-9944-0FC8FFC8078B}"/>
              </a:ext>
            </a:extLst>
          </p:cNvPr>
          <p:cNvSpPr/>
          <p:nvPr userDrawn="1"/>
        </p:nvSpPr>
        <p:spPr>
          <a:xfrm>
            <a:off x="3629913" y="1428929"/>
            <a:ext cx="4937248" cy="4935641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50"/>
          </a:p>
        </p:txBody>
      </p:sp>
      <p:sp>
        <p:nvSpPr>
          <p:cNvPr id="35" name="Plassholder for bilde 34">
            <a:extLst>
              <a:ext uri="{FF2B5EF4-FFF2-40B4-BE49-F238E27FC236}">
                <a16:creationId xmlns:a16="http://schemas.microsoft.com/office/drawing/2014/main" id="{58E12416-0D89-4638-90ED-D533504B3CB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621" y="0"/>
            <a:ext cx="12193473" cy="6858000"/>
          </a:xfrm>
          <a:custGeom>
            <a:avLst/>
            <a:gdLst>
              <a:gd name="connsiteX0" fmla="*/ 0 w 24379009"/>
              <a:gd name="connsiteY0" fmla="*/ 0 h 13716000"/>
              <a:gd name="connsiteX1" fmla="*/ 20883941 w 24379009"/>
              <a:gd name="connsiteY1" fmla="*/ 0 h 13716000"/>
              <a:gd name="connsiteX2" fmla="*/ 24376429 w 24379009"/>
              <a:gd name="connsiteY2" fmla="*/ 3492488 h 13716000"/>
              <a:gd name="connsiteX3" fmla="*/ 24379009 w 24379009"/>
              <a:gd name="connsiteY3" fmla="*/ 13716000 h 13716000"/>
              <a:gd name="connsiteX4" fmla="*/ 9290409 w 24379009"/>
              <a:gd name="connsiteY4" fmla="*/ 13716000 h 13716000"/>
              <a:gd name="connsiteX5" fmla="*/ 9308801 w 24379009"/>
              <a:gd name="connsiteY5" fmla="*/ 13665749 h 13716000"/>
              <a:gd name="connsiteX6" fmla="*/ 9437284 w 24379009"/>
              <a:gd name="connsiteY6" fmla="*/ 12815910 h 13716000"/>
              <a:gd name="connsiteX7" fmla="*/ 9308801 w 24379009"/>
              <a:gd name="connsiteY7" fmla="*/ 11966071 h 13716000"/>
              <a:gd name="connsiteX8" fmla="*/ 9224835 w 24379009"/>
              <a:gd name="connsiteY8" fmla="*/ 11736659 h 13716000"/>
              <a:gd name="connsiteX9" fmla="*/ 9240032 w 24379009"/>
              <a:gd name="connsiteY9" fmla="*/ 11748601 h 13716000"/>
              <a:gd name="connsiteX10" fmla="*/ 12193104 w 24379009"/>
              <a:gd name="connsiteY10" fmla="*/ 12729138 h 13716000"/>
              <a:gd name="connsiteX11" fmla="*/ 17128745 w 24379009"/>
              <a:gd name="connsiteY11" fmla="*/ 7793497 h 13716000"/>
              <a:gd name="connsiteX12" fmla="*/ 12193104 w 24379009"/>
              <a:gd name="connsiteY12" fmla="*/ 2857856 h 13716000"/>
              <a:gd name="connsiteX13" fmla="*/ 7257466 w 24379009"/>
              <a:gd name="connsiteY13" fmla="*/ 7793497 h 13716000"/>
              <a:gd name="connsiteX14" fmla="*/ 7853171 w 24379009"/>
              <a:gd name="connsiteY14" fmla="*/ 10146116 h 13716000"/>
              <a:gd name="connsiteX15" fmla="*/ 7952453 w 24379009"/>
              <a:gd name="connsiteY15" fmla="*/ 10309542 h 13716000"/>
              <a:gd name="connsiteX16" fmla="*/ 7941655 w 24379009"/>
              <a:gd name="connsiteY16" fmla="*/ 10302981 h 13716000"/>
              <a:gd name="connsiteX17" fmla="*/ 6579430 w 24379009"/>
              <a:gd name="connsiteY17" fmla="*/ 9958053 h 13716000"/>
              <a:gd name="connsiteX18" fmla="*/ 3721572 w 24379009"/>
              <a:gd name="connsiteY18" fmla="*/ 12815910 h 13716000"/>
              <a:gd name="connsiteX19" fmla="*/ 3850055 w 24379009"/>
              <a:gd name="connsiteY19" fmla="*/ 13665749 h 13716000"/>
              <a:gd name="connsiteX20" fmla="*/ 3868448 w 24379009"/>
              <a:gd name="connsiteY20" fmla="*/ 13716000 h 13716000"/>
              <a:gd name="connsiteX21" fmla="*/ 0 w 24379009"/>
              <a:gd name="connsiteY21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4379009" h="13716000">
                <a:moveTo>
                  <a:pt x="0" y="0"/>
                </a:moveTo>
                <a:lnTo>
                  <a:pt x="20883941" y="0"/>
                </a:lnTo>
                <a:cubicBezTo>
                  <a:pt x="20883941" y="1928870"/>
                  <a:pt x="22447561" y="3492488"/>
                  <a:pt x="24376429" y="3492488"/>
                </a:cubicBezTo>
                <a:cubicBezTo>
                  <a:pt x="24377289" y="6900325"/>
                  <a:pt x="24378149" y="10308163"/>
                  <a:pt x="24379009" y="13716000"/>
                </a:cubicBezTo>
                <a:lnTo>
                  <a:pt x="9290409" y="13716000"/>
                </a:lnTo>
                <a:lnTo>
                  <a:pt x="9308801" y="13665749"/>
                </a:lnTo>
                <a:cubicBezTo>
                  <a:pt x="9392302" y="13397285"/>
                  <a:pt x="9437284" y="13111851"/>
                  <a:pt x="9437284" y="12815910"/>
                </a:cubicBezTo>
                <a:cubicBezTo>
                  <a:pt x="9437284" y="12519969"/>
                  <a:pt x="9392302" y="12234535"/>
                  <a:pt x="9308801" y="11966071"/>
                </a:cubicBezTo>
                <a:lnTo>
                  <a:pt x="9224835" y="11736659"/>
                </a:lnTo>
                <a:lnTo>
                  <a:pt x="9240032" y="11748601"/>
                </a:lnTo>
                <a:cubicBezTo>
                  <a:pt x="10063507" y="12364441"/>
                  <a:pt x="11085716" y="12729138"/>
                  <a:pt x="12193104" y="12729138"/>
                </a:cubicBezTo>
                <a:cubicBezTo>
                  <a:pt x="14918983" y="12729138"/>
                  <a:pt x="17128745" y="10519376"/>
                  <a:pt x="17128745" y="7793497"/>
                </a:cubicBezTo>
                <a:cubicBezTo>
                  <a:pt x="17128745" y="5067618"/>
                  <a:pt x="14918983" y="2857856"/>
                  <a:pt x="12193104" y="2857856"/>
                </a:cubicBezTo>
                <a:cubicBezTo>
                  <a:pt x="9467225" y="2857856"/>
                  <a:pt x="7257466" y="5067618"/>
                  <a:pt x="7257466" y="7793497"/>
                </a:cubicBezTo>
                <a:cubicBezTo>
                  <a:pt x="7257466" y="8645334"/>
                  <a:pt x="7473261" y="9446769"/>
                  <a:pt x="7853171" y="10146116"/>
                </a:cubicBezTo>
                <a:lnTo>
                  <a:pt x="7952453" y="10309542"/>
                </a:lnTo>
                <a:lnTo>
                  <a:pt x="7941655" y="10302981"/>
                </a:lnTo>
                <a:cubicBezTo>
                  <a:pt x="7536716" y="10083005"/>
                  <a:pt x="7072664" y="9958053"/>
                  <a:pt x="6579430" y="9958053"/>
                </a:cubicBezTo>
                <a:cubicBezTo>
                  <a:pt x="5001079" y="9958053"/>
                  <a:pt x="3721572" y="11237559"/>
                  <a:pt x="3721572" y="12815910"/>
                </a:cubicBezTo>
                <a:cubicBezTo>
                  <a:pt x="3721572" y="13111851"/>
                  <a:pt x="3766555" y="13397285"/>
                  <a:pt x="3850055" y="13665749"/>
                </a:cubicBezTo>
                <a:lnTo>
                  <a:pt x="3868448" y="13716000"/>
                </a:lnTo>
                <a:lnTo>
                  <a:pt x="0" y="13716000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 lIns="0" tIns="0" rIns="0" bIns="0">
            <a:noAutofit/>
          </a:bodyPr>
          <a:lstStyle>
            <a:lvl1pPr>
              <a:defRPr/>
            </a:lvl1pPr>
          </a:lstStyle>
          <a:p>
            <a:r>
              <a:rPr lang="en-GB"/>
              <a:t>Sett inn </a:t>
            </a:r>
            <a:r>
              <a:rPr lang="en-GB" err="1"/>
              <a:t>bilde</a:t>
            </a:r>
            <a:r>
              <a:rPr lang="en-GB"/>
              <a:t> via “Sett inn” -&gt; “Bilde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29913" y="1428929"/>
            <a:ext cx="4937248" cy="4935641"/>
          </a:xfrm>
          <a:prstGeom prst="ellipse">
            <a:avLst/>
          </a:prstGeom>
          <a:noFill/>
        </p:spPr>
        <p:txBody>
          <a:bodyPr lIns="0" tIns="0" rIns="0" bIns="0" anchor="ctr"/>
          <a:lstStyle>
            <a:lvl1pPr algn="ctr">
              <a:defRPr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77E8280A-A5A8-9E49-8A60-8EB53E097023}" type="datetime1">
              <a:t>06.06.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en-GB"/>
              <a:t>Presentasjonens eller kapittelets titt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C6A6BCC-FF39-42D9-ACE8-4D7C3119893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1" name="Plassholder for tekst 29">
            <a:extLst>
              <a:ext uri="{FF2B5EF4-FFF2-40B4-BE49-F238E27FC236}">
                <a16:creationId xmlns:a16="http://schemas.microsoft.com/office/drawing/2014/main" id="{54FE5D8A-CDA7-45DD-9B27-02A834C31FFD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11682247" y="6096768"/>
            <a:ext cx="509753" cy="50958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  <p:sp>
        <p:nvSpPr>
          <p:cNvPr id="36" name="Plassholder for tekst 29">
            <a:extLst>
              <a:ext uri="{FF2B5EF4-FFF2-40B4-BE49-F238E27FC236}">
                <a16:creationId xmlns:a16="http://schemas.microsoft.com/office/drawing/2014/main" id="{AFA1220D-1696-435F-9FE2-43D4D7829CE9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11320411" y="6230098"/>
            <a:ext cx="12606" cy="24123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024350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ihåndsform: figur 17">
            <a:extLst>
              <a:ext uri="{FF2B5EF4-FFF2-40B4-BE49-F238E27FC236}">
                <a16:creationId xmlns:a16="http://schemas.microsoft.com/office/drawing/2014/main" id="{BB19A6C7-78C4-450C-8F12-BC74CFD6DFBE}"/>
              </a:ext>
            </a:extLst>
          </p:cNvPr>
          <p:cNvSpPr/>
          <p:nvPr/>
        </p:nvSpPr>
        <p:spPr>
          <a:xfrm>
            <a:off x="5173984" y="1"/>
            <a:ext cx="7018017" cy="3638869"/>
          </a:xfrm>
          <a:custGeom>
            <a:avLst/>
            <a:gdLst>
              <a:gd name="connsiteX0" fmla="*/ 0 w 14031465"/>
              <a:gd name="connsiteY0" fmla="*/ 0 h 7277737"/>
              <a:gd name="connsiteX1" fmla="*/ 14031465 w 14031465"/>
              <a:gd name="connsiteY1" fmla="*/ 0 h 7277737"/>
              <a:gd name="connsiteX2" fmla="*/ 14031465 w 14031465"/>
              <a:gd name="connsiteY2" fmla="*/ 5966641 h 7277737"/>
              <a:gd name="connsiteX3" fmla="*/ 13790543 w 14031465"/>
              <a:gd name="connsiteY3" fmla="*/ 6105898 h 7277737"/>
              <a:gd name="connsiteX4" fmla="*/ 9220983 w 14031465"/>
              <a:gd name="connsiteY4" fmla="*/ 7277737 h 7277737"/>
              <a:gd name="connsiteX5" fmla="*/ 38329 w 14031465"/>
              <a:gd name="connsiteY5" fmla="*/ 166074 h 727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031465" h="7277737">
                <a:moveTo>
                  <a:pt x="0" y="0"/>
                </a:moveTo>
                <a:lnTo>
                  <a:pt x="14031465" y="0"/>
                </a:lnTo>
                <a:lnTo>
                  <a:pt x="14031465" y="5966641"/>
                </a:lnTo>
                <a:lnTo>
                  <a:pt x="13790543" y="6105898"/>
                </a:lnTo>
                <a:cubicBezTo>
                  <a:pt x="12435315" y="6852772"/>
                  <a:pt x="10877777" y="7277737"/>
                  <a:pt x="9220983" y="7277737"/>
                </a:cubicBezTo>
                <a:cubicBezTo>
                  <a:pt x="4802867" y="7277737"/>
                  <a:pt x="1090560" y="4255761"/>
                  <a:pt x="38329" y="166074"/>
                </a:cubicBezTo>
                <a:close/>
              </a:path>
            </a:pathLst>
          </a:custGeom>
          <a:solidFill>
            <a:schemeClr val="lt2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450"/>
          </a:p>
        </p:txBody>
      </p:sp>
      <p:sp>
        <p:nvSpPr>
          <p:cNvPr id="21" name="Plassholder for bilde 20">
            <a:extLst>
              <a:ext uri="{FF2B5EF4-FFF2-40B4-BE49-F238E27FC236}">
                <a16:creationId xmlns:a16="http://schemas.microsoft.com/office/drawing/2014/main" id="{C88DF1A1-BDE6-40B9-BC88-1B0F743215D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46248" y="0"/>
            <a:ext cx="5845752" cy="6858000"/>
          </a:xfrm>
          <a:custGeom>
            <a:avLst/>
            <a:gdLst>
              <a:gd name="connsiteX0" fmla="*/ 4997975 w 11687699"/>
              <a:gd name="connsiteY0" fmla="*/ 0 h 13716000"/>
              <a:gd name="connsiteX1" fmla="*/ 9401699 w 11687699"/>
              <a:gd name="connsiteY1" fmla="*/ 0 h 13716000"/>
              <a:gd name="connsiteX2" fmla="*/ 11687699 w 11687699"/>
              <a:gd name="connsiteY2" fmla="*/ 1226312 h 13716000"/>
              <a:gd name="connsiteX3" fmla="*/ 11687699 w 11687699"/>
              <a:gd name="connsiteY3" fmla="*/ 12489688 h 13716000"/>
              <a:gd name="connsiteX4" fmla="*/ 9401699 w 11687699"/>
              <a:gd name="connsiteY4" fmla="*/ 13716000 h 13716000"/>
              <a:gd name="connsiteX5" fmla="*/ 4997847 w 11687699"/>
              <a:gd name="connsiteY5" fmla="*/ 13716000 h 13716000"/>
              <a:gd name="connsiteX6" fmla="*/ 5110 w 11687699"/>
              <a:gd name="connsiteY6" fmla="*/ 7157360 h 13716000"/>
              <a:gd name="connsiteX7" fmla="*/ 0 w 11687699"/>
              <a:gd name="connsiteY7" fmla="*/ 6906997 h 13716000"/>
              <a:gd name="connsiteX8" fmla="*/ 0 w 11687699"/>
              <a:gd name="connsiteY8" fmla="*/ 6809003 h 13716000"/>
              <a:gd name="connsiteX9" fmla="*/ 5110 w 11687699"/>
              <a:gd name="connsiteY9" fmla="*/ 6558641 h 13716000"/>
              <a:gd name="connsiteX10" fmla="*/ 4997975 w 11687699"/>
              <a:gd name="connsiteY10" fmla="*/ 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687699" h="13716000">
                <a:moveTo>
                  <a:pt x="4997975" y="0"/>
                </a:moveTo>
                <a:lnTo>
                  <a:pt x="9401699" y="0"/>
                </a:lnTo>
                <a:cubicBezTo>
                  <a:pt x="10231771" y="266706"/>
                  <a:pt x="11006345" y="682247"/>
                  <a:pt x="11687699" y="1226312"/>
                </a:cubicBezTo>
                <a:lnTo>
                  <a:pt x="11687699" y="12489688"/>
                </a:lnTo>
                <a:cubicBezTo>
                  <a:pt x="11006345" y="13033756"/>
                  <a:pt x="10231771" y="13449300"/>
                  <a:pt x="9401699" y="13716000"/>
                </a:cubicBezTo>
                <a:lnTo>
                  <a:pt x="4997847" y="13716000"/>
                </a:lnTo>
                <a:cubicBezTo>
                  <a:pt x="2188676" y="12814673"/>
                  <a:pt x="130973" y="10235081"/>
                  <a:pt x="5110" y="7157360"/>
                </a:cubicBezTo>
                <a:lnTo>
                  <a:pt x="0" y="6906997"/>
                </a:lnTo>
                <a:lnTo>
                  <a:pt x="0" y="6809003"/>
                </a:lnTo>
                <a:lnTo>
                  <a:pt x="5110" y="6558641"/>
                </a:lnTo>
                <a:cubicBezTo>
                  <a:pt x="130973" y="3480920"/>
                  <a:pt x="2188680" y="901327"/>
                  <a:pt x="4997975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225" y="2377414"/>
            <a:ext cx="5335677" cy="1828193"/>
          </a:xfrm>
        </p:spPr>
        <p:txBody>
          <a:bodyPr wrap="square" lIns="0" tIns="0" rIns="0" bIns="0">
            <a:noAutofit/>
          </a:bodyPr>
          <a:lstStyle>
            <a:lvl1pPr>
              <a:defRPr sz="44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72455B36-4451-5943-B859-125A4728740F}" type="datetime1">
              <a:t>06.06.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en-GB"/>
              <a:t>Presentasjonens eller kapittelets titt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C6A6BCC-FF39-42D9-ACE8-4D7C3119893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Frihåndsform: figur 10">
            <a:extLst>
              <a:ext uri="{FF2B5EF4-FFF2-40B4-BE49-F238E27FC236}">
                <a16:creationId xmlns:a16="http://schemas.microsoft.com/office/drawing/2014/main" id="{9D0BA09F-1AB7-4820-AAF4-357B04379CF2}"/>
              </a:ext>
            </a:extLst>
          </p:cNvPr>
          <p:cNvSpPr/>
          <p:nvPr/>
        </p:nvSpPr>
        <p:spPr>
          <a:xfrm>
            <a:off x="0" y="5111640"/>
            <a:ext cx="1746929" cy="1746360"/>
          </a:xfrm>
          <a:custGeom>
            <a:avLst/>
            <a:gdLst>
              <a:gd name="connsiteX0" fmla="*/ 3492720 w 3492720"/>
              <a:gd name="connsiteY0" fmla="*/ 3493640 h 3492720"/>
              <a:gd name="connsiteX1" fmla="*/ 0 w 3492720"/>
              <a:gd name="connsiteY1" fmla="*/ 920 h 3492720"/>
              <a:gd name="connsiteX2" fmla="*/ 0 w 3492720"/>
              <a:gd name="connsiteY2" fmla="*/ 3493640 h 349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2720" h="3492720">
                <a:moveTo>
                  <a:pt x="3492720" y="3493640"/>
                </a:moveTo>
                <a:cubicBezTo>
                  <a:pt x="3492720" y="1564642"/>
                  <a:pt x="1928998" y="920"/>
                  <a:pt x="0" y="920"/>
                </a:cubicBezTo>
                <a:lnTo>
                  <a:pt x="0" y="3493640"/>
                </a:lnTo>
                <a:close/>
              </a:path>
            </a:pathLst>
          </a:custGeom>
          <a:solidFill>
            <a:schemeClr val="lt2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450"/>
          </a:p>
        </p:txBody>
      </p:sp>
      <p:sp>
        <p:nvSpPr>
          <p:cNvPr id="22" name="Plassholder for tekst 29">
            <a:extLst>
              <a:ext uri="{FF2B5EF4-FFF2-40B4-BE49-F238E27FC236}">
                <a16:creationId xmlns:a16="http://schemas.microsoft.com/office/drawing/2014/main" id="{467C46CA-B925-4F9D-9892-3BE03A88CE0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11682247" y="6096768"/>
            <a:ext cx="509753" cy="50958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  <p:sp>
        <p:nvSpPr>
          <p:cNvPr id="26" name="Plassholder for tekst 29">
            <a:extLst>
              <a:ext uri="{FF2B5EF4-FFF2-40B4-BE49-F238E27FC236}">
                <a16:creationId xmlns:a16="http://schemas.microsoft.com/office/drawing/2014/main" id="{9C07BABA-FE02-49A3-8612-5A4D1589C4C0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11320411" y="6230098"/>
            <a:ext cx="12606" cy="24123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461583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bilde høyr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ihåndsform: figur 17">
            <a:extLst>
              <a:ext uri="{FF2B5EF4-FFF2-40B4-BE49-F238E27FC236}">
                <a16:creationId xmlns:a16="http://schemas.microsoft.com/office/drawing/2014/main" id="{BB19A6C7-78C4-450C-8F12-BC74CFD6DFBE}"/>
              </a:ext>
            </a:extLst>
          </p:cNvPr>
          <p:cNvSpPr/>
          <p:nvPr/>
        </p:nvSpPr>
        <p:spPr>
          <a:xfrm>
            <a:off x="5173984" y="1"/>
            <a:ext cx="7018017" cy="3638869"/>
          </a:xfrm>
          <a:custGeom>
            <a:avLst/>
            <a:gdLst>
              <a:gd name="connsiteX0" fmla="*/ 0 w 14031465"/>
              <a:gd name="connsiteY0" fmla="*/ 0 h 7277737"/>
              <a:gd name="connsiteX1" fmla="*/ 14031465 w 14031465"/>
              <a:gd name="connsiteY1" fmla="*/ 0 h 7277737"/>
              <a:gd name="connsiteX2" fmla="*/ 14031465 w 14031465"/>
              <a:gd name="connsiteY2" fmla="*/ 5966641 h 7277737"/>
              <a:gd name="connsiteX3" fmla="*/ 13790543 w 14031465"/>
              <a:gd name="connsiteY3" fmla="*/ 6105898 h 7277737"/>
              <a:gd name="connsiteX4" fmla="*/ 9220983 w 14031465"/>
              <a:gd name="connsiteY4" fmla="*/ 7277737 h 7277737"/>
              <a:gd name="connsiteX5" fmla="*/ 38329 w 14031465"/>
              <a:gd name="connsiteY5" fmla="*/ 166074 h 727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031465" h="7277737">
                <a:moveTo>
                  <a:pt x="0" y="0"/>
                </a:moveTo>
                <a:lnTo>
                  <a:pt x="14031465" y="0"/>
                </a:lnTo>
                <a:lnTo>
                  <a:pt x="14031465" y="5966641"/>
                </a:lnTo>
                <a:lnTo>
                  <a:pt x="13790543" y="6105898"/>
                </a:lnTo>
                <a:cubicBezTo>
                  <a:pt x="12435315" y="6852772"/>
                  <a:pt x="10877777" y="7277737"/>
                  <a:pt x="9220983" y="7277737"/>
                </a:cubicBezTo>
                <a:cubicBezTo>
                  <a:pt x="4802867" y="7277737"/>
                  <a:pt x="1090560" y="4255761"/>
                  <a:pt x="38329" y="166074"/>
                </a:cubicBezTo>
                <a:close/>
              </a:path>
            </a:pathLst>
          </a:custGeom>
          <a:solidFill>
            <a:schemeClr val="lt2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450"/>
          </a:p>
        </p:txBody>
      </p:sp>
      <p:sp>
        <p:nvSpPr>
          <p:cNvPr id="14" name="Plassholder for bilde 10">
            <a:extLst>
              <a:ext uri="{FF2B5EF4-FFF2-40B4-BE49-F238E27FC236}">
                <a16:creationId xmlns:a16="http://schemas.microsoft.com/office/drawing/2014/main" id="{3F7E708B-D066-4A8C-A430-D0A7FD91CC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4039" y="253571"/>
            <a:ext cx="5527799" cy="6351724"/>
          </a:xfrm>
          <a:prstGeom prst="roundRect">
            <a:avLst>
              <a:gd name="adj" fmla="val 2388"/>
            </a:avLst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225" y="2377414"/>
            <a:ext cx="5335677" cy="1828193"/>
          </a:xfrm>
        </p:spPr>
        <p:txBody>
          <a:bodyPr wrap="square" lIns="0" tIns="0" rIns="0" bIns="0">
            <a:noAutofit/>
          </a:bodyPr>
          <a:lstStyle>
            <a:lvl1pPr>
              <a:defRPr sz="44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21BDA03A-34B4-9549-BBFC-CEFC3708A96A}" type="datetime1">
              <a:t>06.06.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en-GB"/>
              <a:t>Presentasjonens eller kapittelets titt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C6A6BCC-FF39-42D9-ACE8-4D7C3119893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Frihåndsform: figur 10">
            <a:extLst>
              <a:ext uri="{FF2B5EF4-FFF2-40B4-BE49-F238E27FC236}">
                <a16:creationId xmlns:a16="http://schemas.microsoft.com/office/drawing/2014/main" id="{9D0BA09F-1AB7-4820-AAF4-357B04379CF2}"/>
              </a:ext>
            </a:extLst>
          </p:cNvPr>
          <p:cNvSpPr/>
          <p:nvPr/>
        </p:nvSpPr>
        <p:spPr>
          <a:xfrm>
            <a:off x="0" y="5111640"/>
            <a:ext cx="1746929" cy="1746360"/>
          </a:xfrm>
          <a:custGeom>
            <a:avLst/>
            <a:gdLst>
              <a:gd name="connsiteX0" fmla="*/ 3492720 w 3492720"/>
              <a:gd name="connsiteY0" fmla="*/ 3493640 h 3492720"/>
              <a:gd name="connsiteX1" fmla="*/ 0 w 3492720"/>
              <a:gd name="connsiteY1" fmla="*/ 920 h 3492720"/>
              <a:gd name="connsiteX2" fmla="*/ 0 w 3492720"/>
              <a:gd name="connsiteY2" fmla="*/ 3493640 h 349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2720" h="3492720">
                <a:moveTo>
                  <a:pt x="3492720" y="3493640"/>
                </a:moveTo>
                <a:cubicBezTo>
                  <a:pt x="3492720" y="1564642"/>
                  <a:pt x="1928998" y="920"/>
                  <a:pt x="0" y="920"/>
                </a:cubicBezTo>
                <a:lnTo>
                  <a:pt x="0" y="3493640"/>
                </a:lnTo>
                <a:close/>
              </a:path>
            </a:pathLst>
          </a:custGeom>
          <a:solidFill>
            <a:schemeClr val="lt2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450"/>
          </a:p>
        </p:txBody>
      </p:sp>
      <p:sp>
        <p:nvSpPr>
          <p:cNvPr id="22" name="Plassholder for tekst 29">
            <a:extLst>
              <a:ext uri="{FF2B5EF4-FFF2-40B4-BE49-F238E27FC236}">
                <a16:creationId xmlns:a16="http://schemas.microsoft.com/office/drawing/2014/main" id="{467C46CA-B925-4F9D-9892-3BE03A88CE0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11682247" y="6096768"/>
            <a:ext cx="509753" cy="50958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  <p:sp>
        <p:nvSpPr>
          <p:cNvPr id="26" name="Plassholder for tekst 29">
            <a:extLst>
              <a:ext uri="{FF2B5EF4-FFF2-40B4-BE49-F238E27FC236}">
                <a16:creationId xmlns:a16="http://schemas.microsoft.com/office/drawing/2014/main" id="{9C07BABA-FE02-49A3-8612-5A4D1589C4C0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11320411" y="6230098"/>
            <a:ext cx="12606" cy="24123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572819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bilde (Variant 2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225" y="479337"/>
            <a:ext cx="9428774" cy="775597"/>
          </a:xfrm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11844CD1-7ED1-E045-A256-7EC1B4215E8D}" type="datetime1">
              <a:t>06.06.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en-GB"/>
              <a:t>Presentasjonens eller kapittelets titt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C6A6BCC-FF39-42D9-ACE8-4D7C3119893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Frihåndsform: figur 8">
            <a:extLst>
              <a:ext uri="{FF2B5EF4-FFF2-40B4-BE49-F238E27FC236}">
                <a16:creationId xmlns:a16="http://schemas.microsoft.com/office/drawing/2014/main" id="{A5A3076C-020C-46B3-9627-40067259DBE0}"/>
              </a:ext>
            </a:extLst>
          </p:cNvPr>
          <p:cNvSpPr/>
          <p:nvPr/>
        </p:nvSpPr>
        <p:spPr>
          <a:xfrm>
            <a:off x="10448824" y="0"/>
            <a:ext cx="1746812" cy="1746244"/>
          </a:xfrm>
          <a:custGeom>
            <a:avLst/>
            <a:gdLst>
              <a:gd name="connsiteX0" fmla="*/ 367 w 3492487"/>
              <a:gd name="connsiteY0" fmla="*/ 0 h 3492488"/>
              <a:gd name="connsiteX1" fmla="*/ 3492855 w 3492487"/>
              <a:gd name="connsiteY1" fmla="*/ 3492488 h 3492488"/>
              <a:gd name="connsiteX2" fmla="*/ 3492855 w 3492487"/>
              <a:gd name="connsiteY2" fmla="*/ 0 h 3492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2487" h="3492488">
                <a:moveTo>
                  <a:pt x="367" y="0"/>
                </a:moveTo>
                <a:cubicBezTo>
                  <a:pt x="367" y="1928870"/>
                  <a:pt x="1563986" y="3492488"/>
                  <a:pt x="3492855" y="3492488"/>
                </a:cubicBezTo>
                <a:lnTo>
                  <a:pt x="3492855" y="0"/>
                </a:lnTo>
                <a:close/>
              </a:path>
            </a:pathLst>
          </a:custGeom>
          <a:solidFill>
            <a:schemeClr val="accent4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450"/>
          </a:p>
        </p:txBody>
      </p:sp>
      <p:sp>
        <p:nvSpPr>
          <p:cNvPr id="13" name="Frihåndsform: figur 12">
            <a:extLst>
              <a:ext uri="{FF2B5EF4-FFF2-40B4-BE49-F238E27FC236}">
                <a16:creationId xmlns:a16="http://schemas.microsoft.com/office/drawing/2014/main" id="{ABC5F55F-5983-487D-A0C6-07FE474F2A87}"/>
              </a:ext>
            </a:extLst>
          </p:cNvPr>
          <p:cNvSpPr/>
          <p:nvPr/>
        </p:nvSpPr>
        <p:spPr>
          <a:xfrm>
            <a:off x="2" y="3219439"/>
            <a:ext cx="7022164" cy="3638561"/>
          </a:xfrm>
          <a:custGeom>
            <a:avLst/>
            <a:gdLst>
              <a:gd name="connsiteX0" fmla="*/ 4819416 w 14039757"/>
              <a:gd name="connsiteY0" fmla="*/ 0 h 7277122"/>
              <a:gd name="connsiteX1" fmla="*/ 14001460 w 14039757"/>
              <a:gd name="connsiteY1" fmla="*/ 7111191 h 7277122"/>
              <a:gd name="connsiteX2" fmla="*/ 14039757 w 14039757"/>
              <a:gd name="connsiteY2" fmla="*/ 7277122 h 7277122"/>
              <a:gd name="connsiteX3" fmla="*/ 0 w 14039757"/>
              <a:gd name="connsiteY3" fmla="*/ 7277122 h 7277122"/>
              <a:gd name="connsiteX4" fmla="*/ 0 w 14039757"/>
              <a:gd name="connsiteY4" fmla="*/ 1316999 h 7277122"/>
              <a:gd name="connsiteX5" fmla="*/ 300442 w 14039757"/>
              <a:gd name="connsiteY5" fmla="*/ 1144249 h 7277122"/>
              <a:gd name="connsiteX6" fmla="*/ 4819416 w 14039757"/>
              <a:gd name="connsiteY6" fmla="*/ 0 h 72771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039757" h="7277122">
                <a:moveTo>
                  <a:pt x="4819416" y="0"/>
                </a:moveTo>
                <a:cubicBezTo>
                  <a:pt x="9237239" y="0"/>
                  <a:pt x="12949299" y="3021775"/>
                  <a:pt x="14001460" y="7111191"/>
                </a:cubicBezTo>
                <a:lnTo>
                  <a:pt x="14039757" y="7277122"/>
                </a:lnTo>
                <a:lnTo>
                  <a:pt x="0" y="7277122"/>
                </a:lnTo>
                <a:lnTo>
                  <a:pt x="0" y="1316999"/>
                </a:lnTo>
                <a:lnTo>
                  <a:pt x="300442" y="1144249"/>
                </a:lnTo>
                <a:cubicBezTo>
                  <a:pt x="1643767" y="414510"/>
                  <a:pt x="3183185" y="0"/>
                  <a:pt x="4819416" y="0"/>
                </a:cubicBezTo>
                <a:close/>
              </a:path>
            </a:pathLst>
          </a:custGeom>
          <a:solidFill>
            <a:schemeClr val="accent4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450"/>
          </a:p>
        </p:txBody>
      </p:sp>
      <p:sp>
        <p:nvSpPr>
          <p:cNvPr id="15" name="Plassholder for bilde 14">
            <a:extLst>
              <a:ext uri="{FF2B5EF4-FFF2-40B4-BE49-F238E27FC236}">
                <a16:creationId xmlns:a16="http://schemas.microsoft.com/office/drawing/2014/main" id="{D709A46D-5815-4D3F-BA66-48BBFF8105C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629913" y="1428929"/>
            <a:ext cx="4937248" cy="493564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772448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tfallende bilde med tittel  (Variant 2)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llipse 23">
            <a:extLst>
              <a:ext uri="{FF2B5EF4-FFF2-40B4-BE49-F238E27FC236}">
                <a16:creationId xmlns:a16="http://schemas.microsoft.com/office/drawing/2014/main" id="{25F115B0-8BEE-4D68-9944-0FC8FFC8078B}"/>
              </a:ext>
            </a:extLst>
          </p:cNvPr>
          <p:cNvSpPr/>
          <p:nvPr userDrawn="1"/>
        </p:nvSpPr>
        <p:spPr>
          <a:xfrm>
            <a:off x="3629913" y="1428929"/>
            <a:ext cx="4937248" cy="493564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50">
              <a:solidFill>
                <a:schemeClr val="bg1"/>
              </a:solidFill>
            </a:endParaRPr>
          </a:p>
        </p:txBody>
      </p:sp>
      <p:sp>
        <p:nvSpPr>
          <p:cNvPr id="35" name="Plassholder for bilde 34">
            <a:extLst>
              <a:ext uri="{FF2B5EF4-FFF2-40B4-BE49-F238E27FC236}">
                <a16:creationId xmlns:a16="http://schemas.microsoft.com/office/drawing/2014/main" id="{58E12416-0D89-4638-90ED-D533504B3CB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621" y="0"/>
            <a:ext cx="12193473" cy="6858000"/>
          </a:xfrm>
          <a:custGeom>
            <a:avLst/>
            <a:gdLst>
              <a:gd name="connsiteX0" fmla="*/ 0 w 24379009"/>
              <a:gd name="connsiteY0" fmla="*/ 0 h 13716000"/>
              <a:gd name="connsiteX1" fmla="*/ 20883941 w 24379009"/>
              <a:gd name="connsiteY1" fmla="*/ 0 h 13716000"/>
              <a:gd name="connsiteX2" fmla="*/ 24376429 w 24379009"/>
              <a:gd name="connsiteY2" fmla="*/ 3492488 h 13716000"/>
              <a:gd name="connsiteX3" fmla="*/ 24379009 w 24379009"/>
              <a:gd name="connsiteY3" fmla="*/ 13716000 h 13716000"/>
              <a:gd name="connsiteX4" fmla="*/ 9290409 w 24379009"/>
              <a:gd name="connsiteY4" fmla="*/ 13716000 h 13716000"/>
              <a:gd name="connsiteX5" fmla="*/ 9308801 w 24379009"/>
              <a:gd name="connsiteY5" fmla="*/ 13665749 h 13716000"/>
              <a:gd name="connsiteX6" fmla="*/ 9437284 w 24379009"/>
              <a:gd name="connsiteY6" fmla="*/ 12815910 h 13716000"/>
              <a:gd name="connsiteX7" fmla="*/ 9308801 w 24379009"/>
              <a:gd name="connsiteY7" fmla="*/ 11966071 h 13716000"/>
              <a:gd name="connsiteX8" fmla="*/ 9224835 w 24379009"/>
              <a:gd name="connsiteY8" fmla="*/ 11736659 h 13716000"/>
              <a:gd name="connsiteX9" fmla="*/ 9240032 w 24379009"/>
              <a:gd name="connsiteY9" fmla="*/ 11748601 h 13716000"/>
              <a:gd name="connsiteX10" fmla="*/ 12193104 w 24379009"/>
              <a:gd name="connsiteY10" fmla="*/ 12729138 h 13716000"/>
              <a:gd name="connsiteX11" fmla="*/ 17128745 w 24379009"/>
              <a:gd name="connsiteY11" fmla="*/ 7793497 h 13716000"/>
              <a:gd name="connsiteX12" fmla="*/ 12193104 w 24379009"/>
              <a:gd name="connsiteY12" fmla="*/ 2857856 h 13716000"/>
              <a:gd name="connsiteX13" fmla="*/ 7257466 w 24379009"/>
              <a:gd name="connsiteY13" fmla="*/ 7793497 h 13716000"/>
              <a:gd name="connsiteX14" fmla="*/ 7853171 w 24379009"/>
              <a:gd name="connsiteY14" fmla="*/ 10146116 h 13716000"/>
              <a:gd name="connsiteX15" fmla="*/ 7952453 w 24379009"/>
              <a:gd name="connsiteY15" fmla="*/ 10309542 h 13716000"/>
              <a:gd name="connsiteX16" fmla="*/ 7941655 w 24379009"/>
              <a:gd name="connsiteY16" fmla="*/ 10302981 h 13716000"/>
              <a:gd name="connsiteX17" fmla="*/ 6579430 w 24379009"/>
              <a:gd name="connsiteY17" fmla="*/ 9958053 h 13716000"/>
              <a:gd name="connsiteX18" fmla="*/ 3721572 w 24379009"/>
              <a:gd name="connsiteY18" fmla="*/ 12815910 h 13716000"/>
              <a:gd name="connsiteX19" fmla="*/ 3850055 w 24379009"/>
              <a:gd name="connsiteY19" fmla="*/ 13665749 h 13716000"/>
              <a:gd name="connsiteX20" fmla="*/ 3868448 w 24379009"/>
              <a:gd name="connsiteY20" fmla="*/ 13716000 h 13716000"/>
              <a:gd name="connsiteX21" fmla="*/ 0 w 24379009"/>
              <a:gd name="connsiteY21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4379009" h="13716000">
                <a:moveTo>
                  <a:pt x="0" y="0"/>
                </a:moveTo>
                <a:lnTo>
                  <a:pt x="20883941" y="0"/>
                </a:lnTo>
                <a:cubicBezTo>
                  <a:pt x="20883941" y="1928870"/>
                  <a:pt x="22447561" y="3492488"/>
                  <a:pt x="24376429" y="3492488"/>
                </a:cubicBezTo>
                <a:cubicBezTo>
                  <a:pt x="24377289" y="6900325"/>
                  <a:pt x="24378149" y="10308163"/>
                  <a:pt x="24379009" y="13716000"/>
                </a:cubicBezTo>
                <a:lnTo>
                  <a:pt x="9290409" y="13716000"/>
                </a:lnTo>
                <a:lnTo>
                  <a:pt x="9308801" y="13665749"/>
                </a:lnTo>
                <a:cubicBezTo>
                  <a:pt x="9392302" y="13397285"/>
                  <a:pt x="9437284" y="13111851"/>
                  <a:pt x="9437284" y="12815910"/>
                </a:cubicBezTo>
                <a:cubicBezTo>
                  <a:pt x="9437284" y="12519969"/>
                  <a:pt x="9392302" y="12234535"/>
                  <a:pt x="9308801" y="11966071"/>
                </a:cubicBezTo>
                <a:lnTo>
                  <a:pt x="9224835" y="11736659"/>
                </a:lnTo>
                <a:lnTo>
                  <a:pt x="9240032" y="11748601"/>
                </a:lnTo>
                <a:cubicBezTo>
                  <a:pt x="10063507" y="12364441"/>
                  <a:pt x="11085716" y="12729138"/>
                  <a:pt x="12193104" y="12729138"/>
                </a:cubicBezTo>
                <a:cubicBezTo>
                  <a:pt x="14918983" y="12729138"/>
                  <a:pt x="17128745" y="10519376"/>
                  <a:pt x="17128745" y="7793497"/>
                </a:cubicBezTo>
                <a:cubicBezTo>
                  <a:pt x="17128745" y="5067618"/>
                  <a:pt x="14918983" y="2857856"/>
                  <a:pt x="12193104" y="2857856"/>
                </a:cubicBezTo>
                <a:cubicBezTo>
                  <a:pt x="9467225" y="2857856"/>
                  <a:pt x="7257466" y="5067618"/>
                  <a:pt x="7257466" y="7793497"/>
                </a:cubicBezTo>
                <a:cubicBezTo>
                  <a:pt x="7257466" y="8645334"/>
                  <a:pt x="7473261" y="9446769"/>
                  <a:pt x="7853171" y="10146116"/>
                </a:cubicBezTo>
                <a:lnTo>
                  <a:pt x="7952453" y="10309542"/>
                </a:lnTo>
                <a:lnTo>
                  <a:pt x="7941655" y="10302981"/>
                </a:lnTo>
                <a:cubicBezTo>
                  <a:pt x="7536716" y="10083005"/>
                  <a:pt x="7072664" y="9958053"/>
                  <a:pt x="6579430" y="9958053"/>
                </a:cubicBezTo>
                <a:cubicBezTo>
                  <a:pt x="5001079" y="9958053"/>
                  <a:pt x="3721572" y="11237559"/>
                  <a:pt x="3721572" y="12815910"/>
                </a:cubicBezTo>
                <a:cubicBezTo>
                  <a:pt x="3721572" y="13111851"/>
                  <a:pt x="3766555" y="13397285"/>
                  <a:pt x="3850055" y="13665749"/>
                </a:cubicBezTo>
                <a:lnTo>
                  <a:pt x="3868448" y="13716000"/>
                </a:lnTo>
                <a:lnTo>
                  <a:pt x="0" y="13716000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 lIns="0" tIns="0" rIns="0" bIns="0">
            <a:noAutofit/>
          </a:bodyPr>
          <a:lstStyle>
            <a:lvl1pPr>
              <a:defRPr/>
            </a:lvl1pPr>
          </a:lstStyle>
          <a:p>
            <a:r>
              <a:rPr lang="en-GB"/>
              <a:t>Sett inn </a:t>
            </a:r>
            <a:r>
              <a:rPr lang="en-GB" err="1"/>
              <a:t>bilde</a:t>
            </a:r>
            <a:r>
              <a:rPr lang="en-GB"/>
              <a:t> via “Sett inn” -&gt; “Bilde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29913" y="1428929"/>
            <a:ext cx="4937248" cy="4935641"/>
          </a:xfrm>
          <a:prstGeom prst="ellipse">
            <a:avLst/>
          </a:prstGeom>
          <a:noFill/>
        </p:spPr>
        <p:txBody>
          <a:bodyPr lIns="0" tIns="0" rIns="0" bIns="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758B0C40-38A5-9842-8B0E-A3CF0D40E63B}" type="datetime1">
              <a:t>06.06.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en-GB"/>
              <a:t>Presentasjonens eller kapittelets titt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C6A6BCC-FF39-42D9-ACE8-4D7C3119893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1" name="Plassholder for tekst 29">
            <a:extLst>
              <a:ext uri="{FF2B5EF4-FFF2-40B4-BE49-F238E27FC236}">
                <a16:creationId xmlns:a16="http://schemas.microsoft.com/office/drawing/2014/main" id="{54FE5D8A-CDA7-45DD-9B27-02A834C31FFD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11682247" y="6096768"/>
            <a:ext cx="509753" cy="50958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  <p:sp>
        <p:nvSpPr>
          <p:cNvPr id="36" name="Plassholder for tekst 29">
            <a:extLst>
              <a:ext uri="{FF2B5EF4-FFF2-40B4-BE49-F238E27FC236}">
                <a16:creationId xmlns:a16="http://schemas.microsoft.com/office/drawing/2014/main" id="{AFA1220D-1696-435F-9FE2-43D4D7829CE9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11320411" y="6230098"/>
            <a:ext cx="12606" cy="24123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728825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bilde høyre  (Variant 2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ihåndsform: figur 17">
            <a:extLst>
              <a:ext uri="{FF2B5EF4-FFF2-40B4-BE49-F238E27FC236}">
                <a16:creationId xmlns:a16="http://schemas.microsoft.com/office/drawing/2014/main" id="{BB19A6C7-78C4-450C-8F12-BC74CFD6DFBE}"/>
              </a:ext>
            </a:extLst>
          </p:cNvPr>
          <p:cNvSpPr/>
          <p:nvPr/>
        </p:nvSpPr>
        <p:spPr>
          <a:xfrm>
            <a:off x="5173984" y="1"/>
            <a:ext cx="7018017" cy="3638869"/>
          </a:xfrm>
          <a:custGeom>
            <a:avLst/>
            <a:gdLst>
              <a:gd name="connsiteX0" fmla="*/ 0 w 14031465"/>
              <a:gd name="connsiteY0" fmla="*/ 0 h 7277737"/>
              <a:gd name="connsiteX1" fmla="*/ 14031465 w 14031465"/>
              <a:gd name="connsiteY1" fmla="*/ 0 h 7277737"/>
              <a:gd name="connsiteX2" fmla="*/ 14031465 w 14031465"/>
              <a:gd name="connsiteY2" fmla="*/ 5966641 h 7277737"/>
              <a:gd name="connsiteX3" fmla="*/ 13790543 w 14031465"/>
              <a:gd name="connsiteY3" fmla="*/ 6105898 h 7277737"/>
              <a:gd name="connsiteX4" fmla="*/ 9220983 w 14031465"/>
              <a:gd name="connsiteY4" fmla="*/ 7277737 h 7277737"/>
              <a:gd name="connsiteX5" fmla="*/ 38329 w 14031465"/>
              <a:gd name="connsiteY5" fmla="*/ 166074 h 727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031465" h="7277737">
                <a:moveTo>
                  <a:pt x="0" y="0"/>
                </a:moveTo>
                <a:lnTo>
                  <a:pt x="14031465" y="0"/>
                </a:lnTo>
                <a:lnTo>
                  <a:pt x="14031465" y="5966641"/>
                </a:lnTo>
                <a:lnTo>
                  <a:pt x="13790543" y="6105898"/>
                </a:lnTo>
                <a:cubicBezTo>
                  <a:pt x="12435315" y="6852772"/>
                  <a:pt x="10877777" y="7277737"/>
                  <a:pt x="9220983" y="7277737"/>
                </a:cubicBezTo>
                <a:cubicBezTo>
                  <a:pt x="4802867" y="7277737"/>
                  <a:pt x="1090560" y="4255761"/>
                  <a:pt x="38329" y="166074"/>
                </a:cubicBezTo>
                <a:close/>
              </a:path>
            </a:pathLst>
          </a:custGeom>
          <a:solidFill>
            <a:schemeClr val="accent4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450"/>
          </a:p>
        </p:txBody>
      </p:sp>
      <p:sp>
        <p:nvSpPr>
          <p:cNvPr id="21" name="Plassholder for bilde 20">
            <a:extLst>
              <a:ext uri="{FF2B5EF4-FFF2-40B4-BE49-F238E27FC236}">
                <a16:creationId xmlns:a16="http://schemas.microsoft.com/office/drawing/2014/main" id="{C88DF1A1-BDE6-40B9-BC88-1B0F743215D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46248" y="0"/>
            <a:ext cx="5845752" cy="6858000"/>
          </a:xfrm>
          <a:custGeom>
            <a:avLst/>
            <a:gdLst>
              <a:gd name="connsiteX0" fmla="*/ 4997975 w 11687699"/>
              <a:gd name="connsiteY0" fmla="*/ 0 h 13716000"/>
              <a:gd name="connsiteX1" fmla="*/ 9401699 w 11687699"/>
              <a:gd name="connsiteY1" fmla="*/ 0 h 13716000"/>
              <a:gd name="connsiteX2" fmla="*/ 11687699 w 11687699"/>
              <a:gd name="connsiteY2" fmla="*/ 1226312 h 13716000"/>
              <a:gd name="connsiteX3" fmla="*/ 11687699 w 11687699"/>
              <a:gd name="connsiteY3" fmla="*/ 12489688 h 13716000"/>
              <a:gd name="connsiteX4" fmla="*/ 9401699 w 11687699"/>
              <a:gd name="connsiteY4" fmla="*/ 13716000 h 13716000"/>
              <a:gd name="connsiteX5" fmla="*/ 4997847 w 11687699"/>
              <a:gd name="connsiteY5" fmla="*/ 13716000 h 13716000"/>
              <a:gd name="connsiteX6" fmla="*/ 5110 w 11687699"/>
              <a:gd name="connsiteY6" fmla="*/ 7157360 h 13716000"/>
              <a:gd name="connsiteX7" fmla="*/ 0 w 11687699"/>
              <a:gd name="connsiteY7" fmla="*/ 6906997 h 13716000"/>
              <a:gd name="connsiteX8" fmla="*/ 0 w 11687699"/>
              <a:gd name="connsiteY8" fmla="*/ 6809003 h 13716000"/>
              <a:gd name="connsiteX9" fmla="*/ 5110 w 11687699"/>
              <a:gd name="connsiteY9" fmla="*/ 6558641 h 13716000"/>
              <a:gd name="connsiteX10" fmla="*/ 4997975 w 11687699"/>
              <a:gd name="connsiteY10" fmla="*/ 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687699" h="13716000">
                <a:moveTo>
                  <a:pt x="4997975" y="0"/>
                </a:moveTo>
                <a:lnTo>
                  <a:pt x="9401699" y="0"/>
                </a:lnTo>
                <a:cubicBezTo>
                  <a:pt x="10231771" y="266706"/>
                  <a:pt x="11006345" y="682247"/>
                  <a:pt x="11687699" y="1226312"/>
                </a:cubicBezTo>
                <a:lnTo>
                  <a:pt x="11687699" y="12489688"/>
                </a:lnTo>
                <a:cubicBezTo>
                  <a:pt x="11006345" y="13033756"/>
                  <a:pt x="10231771" y="13449300"/>
                  <a:pt x="9401699" y="13716000"/>
                </a:cubicBezTo>
                <a:lnTo>
                  <a:pt x="4997847" y="13716000"/>
                </a:lnTo>
                <a:cubicBezTo>
                  <a:pt x="2188676" y="12814673"/>
                  <a:pt x="130973" y="10235081"/>
                  <a:pt x="5110" y="7157360"/>
                </a:cubicBezTo>
                <a:lnTo>
                  <a:pt x="0" y="6906997"/>
                </a:lnTo>
                <a:lnTo>
                  <a:pt x="0" y="6809003"/>
                </a:lnTo>
                <a:lnTo>
                  <a:pt x="5110" y="6558641"/>
                </a:lnTo>
                <a:cubicBezTo>
                  <a:pt x="130973" y="3480920"/>
                  <a:pt x="2188680" y="901327"/>
                  <a:pt x="4997975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225" y="2377414"/>
            <a:ext cx="5335677" cy="1828193"/>
          </a:xfrm>
        </p:spPr>
        <p:txBody>
          <a:bodyPr wrap="square" lIns="0" tIns="0" rIns="0" bIns="0">
            <a:noAutofit/>
          </a:bodyPr>
          <a:lstStyle>
            <a:lvl1pPr>
              <a:defRPr sz="440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7887D365-67FA-F441-BD59-B87972284E75}" type="datetime1">
              <a:t>06.06.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en-GB"/>
              <a:t>Presentasjonens eller kapittelets titt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C6A6BCC-FF39-42D9-ACE8-4D7C3119893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Frihåndsform: figur 10">
            <a:extLst>
              <a:ext uri="{FF2B5EF4-FFF2-40B4-BE49-F238E27FC236}">
                <a16:creationId xmlns:a16="http://schemas.microsoft.com/office/drawing/2014/main" id="{9D0BA09F-1AB7-4820-AAF4-357B04379CF2}"/>
              </a:ext>
            </a:extLst>
          </p:cNvPr>
          <p:cNvSpPr/>
          <p:nvPr/>
        </p:nvSpPr>
        <p:spPr>
          <a:xfrm>
            <a:off x="0" y="5111640"/>
            <a:ext cx="1746929" cy="1746360"/>
          </a:xfrm>
          <a:custGeom>
            <a:avLst/>
            <a:gdLst>
              <a:gd name="connsiteX0" fmla="*/ 3492720 w 3492720"/>
              <a:gd name="connsiteY0" fmla="*/ 3493640 h 3492720"/>
              <a:gd name="connsiteX1" fmla="*/ 0 w 3492720"/>
              <a:gd name="connsiteY1" fmla="*/ 920 h 3492720"/>
              <a:gd name="connsiteX2" fmla="*/ 0 w 3492720"/>
              <a:gd name="connsiteY2" fmla="*/ 3493640 h 349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2720" h="3492720">
                <a:moveTo>
                  <a:pt x="3492720" y="3493640"/>
                </a:moveTo>
                <a:cubicBezTo>
                  <a:pt x="3492720" y="1564642"/>
                  <a:pt x="1928998" y="920"/>
                  <a:pt x="0" y="920"/>
                </a:cubicBezTo>
                <a:lnTo>
                  <a:pt x="0" y="3493640"/>
                </a:lnTo>
                <a:close/>
              </a:path>
            </a:pathLst>
          </a:custGeom>
          <a:solidFill>
            <a:schemeClr val="accent4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450"/>
          </a:p>
        </p:txBody>
      </p:sp>
      <p:sp>
        <p:nvSpPr>
          <p:cNvPr id="22" name="Plassholder for tekst 29">
            <a:extLst>
              <a:ext uri="{FF2B5EF4-FFF2-40B4-BE49-F238E27FC236}">
                <a16:creationId xmlns:a16="http://schemas.microsoft.com/office/drawing/2014/main" id="{467C46CA-B925-4F9D-9892-3BE03A88CE0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11682247" y="6096768"/>
            <a:ext cx="509753" cy="50958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  <p:sp>
        <p:nvSpPr>
          <p:cNvPr id="26" name="Plassholder for tekst 29">
            <a:extLst>
              <a:ext uri="{FF2B5EF4-FFF2-40B4-BE49-F238E27FC236}">
                <a16:creationId xmlns:a16="http://schemas.microsoft.com/office/drawing/2014/main" id="{9C07BABA-FE02-49A3-8612-5A4D1589C4C0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11320411" y="6230098"/>
            <a:ext cx="12606" cy="24123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168846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bilde høyre #2  (Variant 2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ihåndsform: figur 17">
            <a:extLst>
              <a:ext uri="{FF2B5EF4-FFF2-40B4-BE49-F238E27FC236}">
                <a16:creationId xmlns:a16="http://schemas.microsoft.com/office/drawing/2014/main" id="{BB19A6C7-78C4-450C-8F12-BC74CFD6DFBE}"/>
              </a:ext>
            </a:extLst>
          </p:cNvPr>
          <p:cNvSpPr/>
          <p:nvPr/>
        </p:nvSpPr>
        <p:spPr>
          <a:xfrm>
            <a:off x="5173984" y="1"/>
            <a:ext cx="7018017" cy="3638869"/>
          </a:xfrm>
          <a:custGeom>
            <a:avLst/>
            <a:gdLst>
              <a:gd name="connsiteX0" fmla="*/ 0 w 14031465"/>
              <a:gd name="connsiteY0" fmla="*/ 0 h 7277737"/>
              <a:gd name="connsiteX1" fmla="*/ 14031465 w 14031465"/>
              <a:gd name="connsiteY1" fmla="*/ 0 h 7277737"/>
              <a:gd name="connsiteX2" fmla="*/ 14031465 w 14031465"/>
              <a:gd name="connsiteY2" fmla="*/ 5966641 h 7277737"/>
              <a:gd name="connsiteX3" fmla="*/ 13790543 w 14031465"/>
              <a:gd name="connsiteY3" fmla="*/ 6105898 h 7277737"/>
              <a:gd name="connsiteX4" fmla="*/ 9220983 w 14031465"/>
              <a:gd name="connsiteY4" fmla="*/ 7277737 h 7277737"/>
              <a:gd name="connsiteX5" fmla="*/ 38329 w 14031465"/>
              <a:gd name="connsiteY5" fmla="*/ 166074 h 727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031465" h="7277737">
                <a:moveTo>
                  <a:pt x="0" y="0"/>
                </a:moveTo>
                <a:lnTo>
                  <a:pt x="14031465" y="0"/>
                </a:lnTo>
                <a:lnTo>
                  <a:pt x="14031465" y="5966641"/>
                </a:lnTo>
                <a:lnTo>
                  <a:pt x="13790543" y="6105898"/>
                </a:lnTo>
                <a:cubicBezTo>
                  <a:pt x="12435315" y="6852772"/>
                  <a:pt x="10877777" y="7277737"/>
                  <a:pt x="9220983" y="7277737"/>
                </a:cubicBezTo>
                <a:cubicBezTo>
                  <a:pt x="4802867" y="7277737"/>
                  <a:pt x="1090560" y="4255761"/>
                  <a:pt x="38329" y="166074"/>
                </a:cubicBezTo>
                <a:close/>
              </a:path>
            </a:pathLst>
          </a:custGeom>
          <a:solidFill>
            <a:schemeClr val="accent4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450"/>
          </a:p>
        </p:txBody>
      </p:sp>
      <p:sp>
        <p:nvSpPr>
          <p:cNvPr id="14" name="Plassholder for bilde 10">
            <a:extLst>
              <a:ext uri="{FF2B5EF4-FFF2-40B4-BE49-F238E27FC236}">
                <a16:creationId xmlns:a16="http://schemas.microsoft.com/office/drawing/2014/main" id="{3F7E708B-D066-4A8C-A430-D0A7FD91CC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4039" y="253571"/>
            <a:ext cx="5527799" cy="6351724"/>
          </a:xfrm>
          <a:prstGeom prst="roundRect">
            <a:avLst>
              <a:gd name="adj" fmla="val 2388"/>
            </a:avLst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225" y="2377414"/>
            <a:ext cx="5335677" cy="1828193"/>
          </a:xfrm>
        </p:spPr>
        <p:txBody>
          <a:bodyPr wrap="square" lIns="0" tIns="0" rIns="0" bIns="0">
            <a:noAutofit/>
          </a:bodyPr>
          <a:lstStyle>
            <a:lvl1pPr>
              <a:defRPr sz="440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A34D37E8-00D7-AF4B-8628-250C8537AF6A}" type="datetime1">
              <a:t>06.06.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en-GB"/>
              <a:t>Presentasjonens eller kapittelets titt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C6A6BCC-FF39-42D9-ACE8-4D7C3119893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Frihåndsform: figur 10">
            <a:extLst>
              <a:ext uri="{FF2B5EF4-FFF2-40B4-BE49-F238E27FC236}">
                <a16:creationId xmlns:a16="http://schemas.microsoft.com/office/drawing/2014/main" id="{9D0BA09F-1AB7-4820-AAF4-357B04379CF2}"/>
              </a:ext>
            </a:extLst>
          </p:cNvPr>
          <p:cNvSpPr/>
          <p:nvPr/>
        </p:nvSpPr>
        <p:spPr>
          <a:xfrm>
            <a:off x="0" y="5111640"/>
            <a:ext cx="1746929" cy="1746360"/>
          </a:xfrm>
          <a:custGeom>
            <a:avLst/>
            <a:gdLst>
              <a:gd name="connsiteX0" fmla="*/ 3492720 w 3492720"/>
              <a:gd name="connsiteY0" fmla="*/ 3493640 h 3492720"/>
              <a:gd name="connsiteX1" fmla="*/ 0 w 3492720"/>
              <a:gd name="connsiteY1" fmla="*/ 920 h 3492720"/>
              <a:gd name="connsiteX2" fmla="*/ 0 w 3492720"/>
              <a:gd name="connsiteY2" fmla="*/ 3493640 h 349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2720" h="3492720">
                <a:moveTo>
                  <a:pt x="3492720" y="3493640"/>
                </a:moveTo>
                <a:cubicBezTo>
                  <a:pt x="3492720" y="1564642"/>
                  <a:pt x="1928998" y="920"/>
                  <a:pt x="0" y="920"/>
                </a:cubicBezTo>
                <a:lnTo>
                  <a:pt x="0" y="3493640"/>
                </a:lnTo>
                <a:close/>
              </a:path>
            </a:pathLst>
          </a:custGeom>
          <a:solidFill>
            <a:schemeClr val="accent4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450"/>
          </a:p>
        </p:txBody>
      </p:sp>
      <p:sp>
        <p:nvSpPr>
          <p:cNvPr id="22" name="Plassholder for tekst 29">
            <a:extLst>
              <a:ext uri="{FF2B5EF4-FFF2-40B4-BE49-F238E27FC236}">
                <a16:creationId xmlns:a16="http://schemas.microsoft.com/office/drawing/2014/main" id="{467C46CA-B925-4F9D-9892-3BE03A88CE0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11682247" y="6096768"/>
            <a:ext cx="509753" cy="50958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  <p:sp>
        <p:nvSpPr>
          <p:cNvPr id="26" name="Plassholder for tekst 29">
            <a:extLst>
              <a:ext uri="{FF2B5EF4-FFF2-40B4-BE49-F238E27FC236}">
                <a16:creationId xmlns:a16="http://schemas.microsoft.com/office/drawing/2014/main" id="{9C07BABA-FE02-49A3-8612-5A4D1589C4C0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11320411" y="6230098"/>
            <a:ext cx="12606" cy="24123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415195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lakat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k 12">
            <a:extLst>
              <a:ext uri="{FF2B5EF4-FFF2-40B4-BE49-F238E27FC236}">
                <a16:creationId xmlns:a16="http://schemas.microsoft.com/office/drawing/2014/main" id="{D3F8853F-5AD2-4741-A009-5E338DFDB6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8224" y="508060"/>
            <a:ext cx="2052668" cy="770824"/>
          </a:xfrm>
          <a:prstGeom prst="rect">
            <a:avLst/>
          </a:prstGeom>
        </p:spPr>
      </p:pic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837C36F4-3439-485F-9F85-8CA1656B1F6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/>
          <a:lstStyle/>
          <a:p>
            <a:fld id="{248DDA0D-1BEE-7A42-B1EE-FBCD3D3D216C}" type="datetime1">
              <a:t>06.06.2024</a:t>
            </a:fld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1AC607D-34F9-4335-B0D4-1F7783103F3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8225" y="2477136"/>
            <a:ext cx="4846568" cy="2097080"/>
          </a:xfrm>
        </p:spPr>
        <p:txBody>
          <a:bodyPr wrap="square" lIns="0" tIns="0" rIns="0" bIns="0" anchor="t">
            <a:noAutofit/>
          </a:bodyPr>
          <a:lstStyle>
            <a:lvl1pPr algn="l">
              <a:lnSpc>
                <a:spcPct val="95000"/>
              </a:lnSpc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86B8EF1F-F258-4684-84D0-56CC41E8500D}"/>
              </a:ext>
            </a:extLst>
          </p:cNvPr>
          <p:cNvSpPr/>
          <p:nvPr userDrawn="1"/>
        </p:nvSpPr>
        <p:spPr>
          <a:xfrm>
            <a:off x="6352866" y="635084"/>
            <a:ext cx="5589019" cy="55872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50"/>
          </a:p>
        </p:txBody>
      </p:sp>
      <p:sp>
        <p:nvSpPr>
          <p:cNvPr id="11" name="Plassholder for bunntekst 3">
            <a:extLst>
              <a:ext uri="{FF2B5EF4-FFF2-40B4-BE49-F238E27FC236}">
                <a16:creationId xmlns:a16="http://schemas.microsoft.com/office/drawing/2014/main" id="{BA61E25B-057D-4011-8A6B-0A208C4F39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86780" y="-120060"/>
            <a:ext cx="4114800" cy="15389"/>
          </a:xfrm>
        </p:spPr>
        <p:txBody>
          <a:bodyPr/>
          <a:lstStyle>
            <a:lvl1pPr>
              <a:defRPr sz="100"/>
            </a:lvl1pPr>
          </a:lstStyle>
          <a:p>
            <a:r>
              <a:rPr lang="en-GB"/>
              <a:t>Presentasjonens eller kapittelets tittel</a:t>
            </a:r>
          </a:p>
        </p:txBody>
      </p:sp>
      <p:sp>
        <p:nvSpPr>
          <p:cNvPr id="12" name="Plassholder for lysbildenummer 4">
            <a:extLst>
              <a:ext uri="{FF2B5EF4-FFF2-40B4-BE49-F238E27FC236}">
                <a16:creationId xmlns:a16="http://schemas.microsoft.com/office/drawing/2014/main" id="{3E8C21B8-D9B3-4944-8D30-09E82F4071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246418" y="-120060"/>
            <a:ext cx="226749" cy="15389"/>
          </a:xfrm>
        </p:spPr>
        <p:txBody>
          <a:bodyPr/>
          <a:lstStyle>
            <a:lvl1pPr>
              <a:defRPr sz="100"/>
            </a:lvl1pPr>
          </a:lstStyle>
          <a:p>
            <a:fld id="{2C6A6BCC-FF39-42D9-ACE8-4D7C31198930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689888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bilde (Variant 3)">
    <p:bg>
      <p:bgPr>
        <a:solidFill>
          <a:srgbClr val="ED3F2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225" y="479337"/>
            <a:ext cx="9428774" cy="775597"/>
          </a:xfrm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7E88F2D4-D076-DB4A-812C-6832BD151FBB}" type="datetime1">
              <a:t>06.06.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en-GB"/>
              <a:t>Presentasjonens eller kapittelets titt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C6A6BCC-FF39-42D9-ACE8-4D7C3119893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Frihåndsform: figur 8">
            <a:extLst>
              <a:ext uri="{FF2B5EF4-FFF2-40B4-BE49-F238E27FC236}">
                <a16:creationId xmlns:a16="http://schemas.microsoft.com/office/drawing/2014/main" id="{A5A3076C-020C-46B3-9627-40067259DBE0}"/>
              </a:ext>
            </a:extLst>
          </p:cNvPr>
          <p:cNvSpPr/>
          <p:nvPr/>
        </p:nvSpPr>
        <p:spPr>
          <a:xfrm>
            <a:off x="10448824" y="0"/>
            <a:ext cx="1746812" cy="1746244"/>
          </a:xfrm>
          <a:custGeom>
            <a:avLst/>
            <a:gdLst>
              <a:gd name="connsiteX0" fmla="*/ 367 w 3492487"/>
              <a:gd name="connsiteY0" fmla="*/ 0 h 3492488"/>
              <a:gd name="connsiteX1" fmla="*/ 3492855 w 3492487"/>
              <a:gd name="connsiteY1" fmla="*/ 3492488 h 3492488"/>
              <a:gd name="connsiteX2" fmla="*/ 3492855 w 3492487"/>
              <a:gd name="connsiteY2" fmla="*/ 0 h 3492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2487" h="3492488">
                <a:moveTo>
                  <a:pt x="367" y="0"/>
                </a:moveTo>
                <a:cubicBezTo>
                  <a:pt x="367" y="1928870"/>
                  <a:pt x="1563986" y="3492488"/>
                  <a:pt x="3492855" y="3492488"/>
                </a:cubicBezTo>
                <a:lnTo>
                  <a:pt x="3492855" y="0"/>
                </a:lnTo>
                <a:close/>
              </a:path>
            </a:pathLst>
          </a:custGeom>
          <a:solidFill>
            <a:schemeClr val="accent3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450"/>
          </a:p>
        </p:txBody>
      </p:sp>
      <p:sp>
        <p:nvSpPr>
          <p:cNvPr id="13" name="Frihåndsform: figur 12">
            <a:extLst>
              <a:ext uri="{FF2B5EF4-FFF2-40B4-BE49-F238E27FC236}">
                <a16:creationId xmlns:a16="http://schemas.microsoft.com/office/drawing/2014/main" id="{ABC5F55F-5983-487D-A0C6-07FE474F2A87}"/>
              </a:ext>
            </a:extLst>
          </p:cNvPr>
          <p:cNvSpPr/>
          <p:nvPr/>
        </p:nvSpPr>
        <p:spPr>
          <a:xfrm>
            <a:off x="2" y="3219439"/>
            <a:ext cx="7022164" cy="3638561"/>
          </a:xfrm>
          <a:custGeom>
            <a:avLst/>
            <a:gdLst>
              <a:gd name="connsiteX0" fmla="*/ 4819416 w 14039757"/>
              <a:gd name="connsiteY0" fmla="*/ 0 h 7277122"/>
              <a:gd name="connsiteX1" fmla="*/ 14001460 w 14039757"/>
              <a:gd name="connsiteY1" fmla="*/ 7111191 h 7277122"/>
              <a:gd name="connsiteX2" fmla="*/ 14039757 w 14039757"/>
              <a:gd name="connsiteY2" fmla="*/ 7277122 h 7277122"/>
              <a:gd name="connsiteX3" fmla="*/ 0 w 14039757"/>
              <a:gd name="connsiteY3" fmla="*/ 7277122 h 7277122"/>
              <a:gd name="connsiteX4" fmla="*/ 0 w 14039757"/>
              <a:gd name="connsiteY4" fmla="*/ 1316999 h 7277122"/>
              <a:gd name="connsiteX5" fmla="*/ 300442 w 14039757"/>
              <a:gd name="connsiteY5" fmla="*/ 1144249 h 7277122"/>
              <a:gd name="connsiteX6" fmla="*/ 4819416 w 14039757"/>
              <a:gd name="connsiteY6" fmla="*/ 0 h 72771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039757" h="7277122">
                <a:moveTo>
                  <a:pt x="4819416" y="0"/>
                </a:moveTo>
                <a:cubicBezTo>
                  <a:pt x="9237239" y="0"/>
                  <a:pt x="12949299" y="3021775"/>
                  <a:pt x="14001460" y="7111191"/>
                </a:cubicBezTo>
                <a:lnTo>
                  <a:pt x="14039757" y="7277122"/>
                </a:lnTo>
                <a:lnTo>
                  <a:pt x="0" y="7277122"/>
                </a:lnTo>
                <a:lnTo>
                  <a:pt x="0" y="1316999"/>
                </a:lnTo>
                <a:lnTo>
                  <a:pt x="300442" y="1144249"/>
                </a:lnTo>
                <a:cubicBezTo>
                  <a:pt x="1643767" y="414510"/>
                  <a:pt x="3183185" y="0"/>
                  <a:pt x="4819416" y="0"/>
                </a:cubicBezTo>
                <a:close/>
              </a:path>
            </a:pathLst>
          </a:custGeom>
          <a:solidFill>
            <a:schemeClr val="accent3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450"/>
          </a:p>
        </p:txBody>
      </p:sp>
      <p:sp>
        <p:nvSpPr>
          <p:cNvPr id="15" name="Plassholder for bilde 14">
            <a:extLst>
              <a:ext uri="{FF2B5EF4-FFF2-40B4-BE49-F238E27FC236}">
                <a16:creationId xmlns:a16="http://schemas.microsoft.com/office/drawing/2014/main" id="{D709A46D-5815-4D3F-BA66-48BBFF8105C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629913" y="1428929"/>
            <a:ext cx="4937248" cy="493564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822020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tfallende bilde med tittel  (Variant 3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llipse 23">
            <a:extLst>
              <a:ext uri="{FF2B5EF4-FFF2-40B4-BE49-F238E27FC236}">
                <a16:creationId xmlns:a16="http://schemas.microsoft.com/office/drawing/2014/main" id="{25F115B0-8BEE-4D68-9944-0FC8FFC8078B}"/>
              </a:ext>
            </a:extLst>
          </p:cNvPr>
          <p:cNvSpPr/>
          <p:nvPr userDrawn="1"/>
        </p:nvSpPr>
        <p:spPr>
          <a:xfrm>
            <a:off x="3629913" y="1428929"/>
            <a:ext cx="4937248" cy="4935641"/>
          </a:xfrm>
          <a:prstGeom prst="ellipse">
            <a:avLst/>
          </a:prstGeom>
          <a:solidFill>
            <a:srgbClr val="ED3F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50">
              <a:solidFill>
                <a:schemeClr val="bg1"/>
              </a:solidFill>
            </a:endParaRPr>
          </a:p>
        </p:txBody>
      </p:sp>
      <p:sp>
        <p:nvSpPr>
          <p:cNvPr id="35" name="Plassholder for bilde 34">
            <a:extLst>
              <a:ext uri="{FF2B5EF4-FFF2-40B4-BE49-F238E27FC236}">
                <a16:creationId xmlns:a16="http://schemas.microsoft.com/office/drawing/2014/main" id="{58E12416-0D89-4638-90ED-D533504B3CB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621" y="0"/>
            <a:ext cx="12193473" cy="6858000"/>
          </a:xfrm>
          <a:custGeom>
            <a:avLst/>
            <a:gdLst>
              <a:gd name="connsiteX0" fmla="*/ 0 w 24379009"/>
              <a:gd name="connsiteY0" fmla="*/ 0 h 13716000"/>
              <a:gd name="connsiteX1" fmla="*/ 20883941 w 24379009"/>
              <a:gd name="connsiteY1" fmla="*/ 0 h 13716000"/>
              <a:gd name="connsiteX2" fmla="*/ 24376429 w 24379009"/>
              <a:gd name="connsiteY2" fmla="*/ 3492488 h 13716000"/>
              <a:gd name="connsiteX3" fmla="*/ 24379009 w 24379009"/>
              <a:gd name="connsiteY3" fmla="*/ 13716000 h 13716000"/>
              <a:gd name="connsiteX4" fmla="*/ 9290409 w 24379009"/>
              <a:gd name="connsiteY4" fmla="*/ 13716000 h 13716000"/>
              <a:gd name="connsiteX5" fmla="*/ 9308801 w 24379009"/>
              <a:gd name="connsiteY5" fmla="*/ 13665749 h 13716000"/>
              <a:gd name="connsiteX6" fmla="*/ 9437284 w 24379009"/>
              <a:gd name="connsiteY6" fmla="*/ 12815910 h 13716000"/>
              <a:gd name="connsiteX7" fmla="*/ 9308801 w 24379009"/>
              <a:gd name="connsiteY7" fmla="*/ 11966071 h 13716000"/>
              <a:gd name="connsiteX8" fmla="*/ 9224835 w 24379009"/>
              <a:gd name="connsiteY8" fmla="*/ 11736659 h 13716000"/>
              <a:gd name="connsiteX9" fmla="*/ 9240032 w 24379009"/>
              <a:gd name="connsiteY9" fmla="*/ 11748601 h 13716000"/>
              <a:gd name="connsiteX10" fmla="*/ 12193104 w 24379009"/>
              <a:gd name="connsiteY10" fmla="*/ 12729138 h 13716000"/>
              <a:gd name="connsiteX11" fmla="*/ 17128745 w 24379009"/>
              <a:gd name="connsiteY11" fmla="*/ 7793497 h 13716000"/>
              <a:gd name="connsiteX12" fmla="*/ 12193104 w 24379009"/>
              <a:gd name="connsiteY12" fmla="*/ 2857856 h 13716000"/>
              <a:gd name="connsiteX13" fmla="*/ 7257466 w 24379009"/>
              <a:gd name="connsiteY13" fmla="*/ 7793497 h 13716000"/>
              <a:gd name="connsiteX14" fmla="*/ 7853171 w 24379009"/>
              <a:gd name="connsiteY14" fmla="*/ 10146116 h 13716000"/>
              <a:gd name="connsiteX15" fmla="*/ 7952453 w 24379009"/>
              <a:gd name="connsiteY15" fmla="*/ 10309542 h 13716000"/>
              <a:gd name="connsiteX16" fmla="*/ 7941655 w 24379009"/>
              <a:gd name="connsiteY16" fmla="*/ 10302981 h 13716000"/>
              <a:gd name="connsiteX17" fmla="*/ 6579430 w 24379009"/>
              <a:gd name="connsiteY17" fmla="*/ 9958053 h 13716000"/>
              <a:gd name="connsiteX18" fmla="*/ 3721572 w 24379009"/>
              <a:gd name="connsiteY18" fmla="*/ 12815910 h 13716000"/>
              <a:gd name="connsiteX19" fmla="*/ 3850055 w 24379009"/>
              <a:gd name="connsiteY19" fmla="*/ 13665749 h 13716000"/>
              <a:gd name="connsiteX20" fmla="*/ 3868448 w 24379009"/>
              <a:gd name="connsiteY20" fmla="*/ 13716000 h 13716000"/>
              <a:gd name="connsiteX21" fmla="*/ 0 w 24379009"/>
              <a:gd name="connsiteY21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4379009" h="13716000">
                <a:moveTo>
                  <a:pt x="0" y="0"/>
                </a:moveTo>
                <a:lnTo>
                  <a:pt x="20883941" y="0"/>
                </a:lnTo>
                <a:cubicBezTo>
                  <a:pt x="20883941" y="1928870"/>
                  <a:pt x="22447561" y="3492488"/>
                  <a:pt x="24376429" y="3492488"/>
                </a:cubicBezTo>
                <a:cubicBezTo>
                  <a:pt x="24377289" y="6900325"/>
                  <a:pt x="24378149" y="10308163"/>
                  <a:pt x="24379009" y="13716000"/>
                </a:cubicBezTo>
                <a:lnTo>
                  <a:pt x="9290409" y="13716000"/>
                </a:lnTo>
                <a:lnTo>
                  <a:pt x="9308801" y="13665749"/>
                </a:lnTo>
                <a:cubicBezTo>
                  <a:pt x="9392302" y="13397285"/>
                  <a:pt x="9437284" y="13111851"/>
                  <a:pt x="9437284" y="12815910"/>
                </a:cubicBezTo>
                <a:cubicBezTo>
                  <a:pt x="9437284" y="12519969"/>
                  <a:pt x="9392302" y="12234535"/>
                  <a:pt x="9308801" y="11966071"/>
                </a:cubicBezTo>
                <a:lnTo>
                  <a:pt x="9224835" y="11736659"/>
                </a:lnTo>
                <a:lnTo>
                  <a:pt x="9240032" y="11748601"/>
                </a:lnTo>
                <a:cubicBezTo>
                  <a:pt x="10063507" y="12364441"/>
                  <a:pt x="11085716" y="12729138"/>
                  <a:pt x="12193104" y="12729138"/>
                </a:cubicBezTo>
                <a:cubicBezTo>
                  <a:pt x="14918983" y="12729138"/>
                  <a:pt x="17128745" y="10519376"/>
                  <a:pt x="17128745" y="7793497"/>
                </a:cubicBezTo>
                <a:cubicBezTo>
                  <a:pt x="17128745" y="5067618"/>
                  <a:pt x="14918983" y="2857856"/>
                  <a:pt x="12193104" y="2857856"/>
                </a:cubicBezTo>
                <a:cubicBezTo>
                  <a:pt x="9467225" y="2857856"/>
                  <a:pt x="7257466" y="5067618"/>
                  <a:pt x="7257466" y="7793497"/>
                </a:cubicBezTo>
                <a:cubicBezTo>
                  <a:pt x="7257466" y="8645334"/>
                  <a:pt x="7473261" y="9446769"/>
                  <a:pt x="7853171" y="10146116"/>
                </a:cubicBezTo>
                <a:lnTo>
                  <a:pt x="7952453" y="10309542"/>
                </a:lnTo>
                <a:lnTo>
                  <a:pt x="7941655" y="10302981"/>
                </a:lnTo>
                <a:cubicBezTo>
                  <a:pt x="7536716" y="10083005"/>
                  <a:pt x="7072664" y="9958053"/>
                  <a:pt x="6579430" y="9958053"/>
                </a:cubicBezTo>
                <a:cubicBezTo>
                  <a:pt x="5001079" y="9958053"/>
                  <a:pt x="3721572" y="11237559"/>
                  <a:pt x="3721572" y="12815910"/>
                </a:cubicBezTo>
                <a:cubicBezTo>
                  <a:pt x="3721572" y="13111851"/>
                  <a:pt x="3766555" y="13397285"/>
                  <a:pt x="3850055" y="13665749"/>
                </a:cubicBezTo>
                <a:lnTo>
                  <a:pt x="3868448" y="13716000"/>
                </a:lnTo>
                <a:lnTo>
                  <a:pt x="0" y="13716000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 lIns="0" tIns="0" rIns="0" bIns="0">
            <a:noAutofit/>
          </a:bodyPr>
          <a:lstStyle>
            <a:lvl1pPr>
              <a:defRPr/>
            </a:lvl1pPr>
          </a:lstStyle>
          <a:p>
            <a:r>
              <a:rPr lang="en-GB"/>
              <a:t>Sett inn </a:t>
            </a:r>
            <a:r>
              <a:rPr lang="en-GB" err="1"/>
              <a:t>bilde</a:t>
            </a:r>
            <a:r>
              <a:rPr lang="en-GB"/>
              <a:t> via “Sett inn” -&gt; “Bilde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29913" y="1428929"/>
            <a:ext cx="4937248" cy="4935641"/>
          </a:xfrm>
          <a:prstGeom prst="ellipse">
            <a:avLst/>
          </a:prstGeom>
          <a:noFill/>
        </p:spPr>
        <p:txBody>
          <a:bodyPr lIns="0" tIns="0" rIns="0" bIns="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89A155B8-F0DC-5D4C-90B2-801A724D501C}" type="datetime1">
              <a:t>06.06.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en-GB"/>
              <a:t>Presentasjonens eller kapittelets titt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C6A6BCC-FF39-42D9-ACE8-4D7C3119893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1" name="Plassholder for tekst 29">
            <a:extLst>
              <a:ext uri="{FF2B5EF4-FFF2-40B4-BE49-F238E27FC236}">
                <a16:creationId xmlns:a16="http://schemas.microsoft.com/office/drawing/2014/main" id="{54FE5D8A-CDA7-45DD-9B27-02A834C31FFD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11682247" y="6096768"/>
            <a:ext cx="509753" cy="50958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  <p:sp>
        <p:nvSpPr>
          <p:cNvPr id="36" name="Plassholder for tekst 29">
            <a:extLst>
              <a:ext uri="{FF2B5EF4-FFF2-40B4-BE49-F238E27FC236}">
                <a16:creationId xmlns:a16="http://schemas.microsoft.com/office/drawing/2014/main" id="{AFA1220D-1696-435F-9FE2-43D4D7829CE9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11320411" y="6230098"/>
            <a:ext cx="12606" cy="24123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56363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225" y="479338"/>
            <a:ext cx="11175586" cy="7755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3129ECF1-F0D3-4CD8-9C78-0C81B2D5F5E5}" type="datetimeFigureOut">
              <a:rPr lang="nb-NO" smtClean="0"/>
              <a:t>06.06.2024</a:t>
            </a:fld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4409EF66-46AA-4080-844D-5B92F1A6B3C3}" type="slidenum">
              <a:rPr lang="nb-NO" smtClean="0"/>
              <a:t>‹#›</a:t>
            </a:fld>
            <a:endParaRPr lang="nb-NO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D8986FE9-895D-44E7-8B0C-A530625962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8226" y="1657985"/>
            <a:ext cx="5365747" cy="4351338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330E2F7-1E79-49FF-B1F3-FBCC459D6A8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8065" y="1657985"/>
            <a:ext cx="5365747" cy="4351338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654802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bilde høyre  (Variant 3)">
    <p:bg>
      <p:bgPr>
        <a:solidFill>
          <a:srgbClr val="ED3F2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ihåndsform: figur 17">
            <a:extLst>
              <a:ext uri="{FF2B5EF4-FFF2-40B4-BE49-F238E27FC236}">
                <a16:creationId xmlns:a16="http://schemas.microsoft.com/office/drawing/2014/main" id="{BB19A6C7-78C4-450C-8F12-BC74CFD6DFBE}"/>
              </a:ext>
            </a:extLst>
          </p:cNvPr>
          <p:cNvSpPr/>
          <p:nvPr/>
        </p:nvSpPr>
        <p:spPr>
          <a:xfrm>
            <a:off x="5173984" y="1"/>
            <a:ext cx="7018017" cy="3638869"/>
          </a:xfrm>
          <a:custGeom>
            <a:avLst/>
            <a:gdLst>
              <a:gd name="connsiteX0" fmla="*/ 0 w 14031465"/>
              <a:gd name="connsiteY0" fmla="*/ 0 h 7277737"/>
              <a:gd name="connsiteX1" fmla="*/ 14031465 w 14031465"/>
              <a:gd name="connsiteY1" fmla="*/ 0 h 7277737"/>
              <a:gd name="connsiteX2" fmla="*/ 14031465 w 14031465"/>
              <a:gd name="connsiteY2" fmla="*/ 5966641 h 7277737"/>
              <a:gd name="connsiteX3" fmla="*/ 13790543 w 14031465"/>
              <a:gd name="connsiteY3" fmla="*/ 6105898 h 7277737"/>
              <a:gd name="connsiteX4" fmla="*/ 9220983 w 14031465"/>
              <a:gd name="connsiteY4" fmla="*/ 7277737 h 7277737"/>
              <a:gd name="connsiteX5" fmla="*/ 38329 w 14031465"/>
              <a:gd name="connsiteY5" fmla="*/ 166074 h 727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031465" h="7277737">
                <a:moveTo>
                  <a:pt x="0" y="0"/>
                </a:moveTo>
                <a:lnTo>
                  <a:pt x="14031465" y="0"/>
                </a:lnTo>
                <a:lnTo>
                  <a:pt x="14031465" y="5966641"/>
                </a:lnTo>
                <a:lnTo>
                  <a:pt x="13790543" y="6105898"/>
                </a:lnTo>
                <a:cubicBezTo>
                  <a:pt x="12435315" y="6852772"/>
                  <a:pt x="10877777" y="7277737"/>
                  <a:pt x="9220983" y="7277737"/>
                </a:cubicBezTo>
                <a:cubicBezTo>
                  <a:pt x="4802867" y="7277737"/>
                  <a:pt x="1090560" y="4255761"/>
                  <a:pt x="38329" y="166074"/>
                </a:cubicBezTo>
                <a:close/>
              </a:path>
            </a:pathLst>
          </a:custGeom>
          <a:solidFill>
            <a:schemeClr val="accent3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450"/>
          </a:p>
        </p:txBody>
      </p:sp>
      <p:sp>
        <p:nvSpPr>
          <p:cNvPr id="21" name="Plassholder for bilde 20">
            <a:extLst>
              <a:ext uri="{FF2B5EF4-FFF2-40B4-BE49-F238E27FC236}">
                <a16:creationId xmlns:a16="http://schemas.microsoft.com/office/drawing/2014/main" id="{C88DF1A1-BDE6-40B9-BC88-1B0F743215D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46248" y="0"/>
            <a:ext cx="5845752" cy="6858000"/>
          </a:xfrm>
          <a:custGeom>
            <a:avLst/>
            <a:gdLst>
              <a:gd name="connsiteX0" fmla="*/ 4997975 w 11687699"/>
              <a:gd name="connsiteY0" fmla="*/ 0 h 13716000"/>
              <a:gd name="connsiteX1" fmla="*/ 9401699 w 11687699"/>
              <a:gd name="connsiteY1" fmla="*/ 0 h 13716000"/>
              <a:gd name="connsiteX2" fmla="*/ 11687699 w 11687699"/>
              <a:gd name="connsiteY2" fmla="*/ 1226312 h 13716000"/>
              <a:gd name="connsiteX3" fmla="*/ 11687699 w 11687699"/>
              <a:gd name="connsiteY3" fmla="*/ 12489688 h 13716000"/>
              <a:gd name="connsiteX4" fmla="*/ 9401699 w 11687699"/>
              <a:gd name="connsiteY4" fmla="*/ 13716000 h 13716000"/>
              <a:gd name="connsiteX5" fmla="*/ 4997847 w 11687699"/>
              <a:gd name="connsiteY5" fmla="*/ 13716000 h 13716000"/>
              <a:gd name="connsiteX6" fmla="*/ 5110 w 11687699"/>
              <a:gd name="connsiteY6" fmla="*/ 7157360 h 13716000"/>
              <a:gd name="connsiteX7" fmla="*/ 0 w 11687699"/>
              <a:gd name="connsiteY7" fmla="*/ 6906997 h 13716000"/>
              <a:gd name="connsiteX8" fmla="*/ 0 w 11687699"/>
              <a:gd name="connsiteY8" fmla="*/ 6809003 h 13716000"/>
              <a:gd name="connsiteX9" fmla="*/ 5110 w 11687699"/>
              <a:gd name="connsiteY9" fmla="*/ 6558641 h 13716000"/>
              <a:gd name="connsiteX10" fmla="*/ 4997975 w 11687699"/>
              <a:gd name="connsiteY10" fmla="*/ 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687699" h="13716000">
                <a:moveTo>
                  <a:pt x="4997975" y="0"/>
                </a:moveTo>
                <a:lnTo>
                  <a:pt x="9401699" y="0"/>
                </a:lnTo>
                <a:cubicBezTo>
                  <a:pt x="10231771" y="266706"/>
                  <a:pt x="11006345" y="682247"/>
                  <a:pt x="11687699" y="1226312"/>
                </a:cubicBezTo>
                <a:lnTo>
                  <a:pt x="11687699" y="12489688"/>
                </a:lnTo>
                <a:cubicBezTo>
                  <a:pt x="11006345" y="13033756"/>
                  <a:pt x="10231771" y="13449300"/>
                  <a:pt x="9401699" y="13716000"/>
                </a:cubicBezTo>
                <a:lnTo>
                  <a:pt x="4997847" y="13716000"/>
                </a:lnTo>
                <a:cubicBezTo>
                  <a:pt x="2188676" y="12814673"/>
                  <a:pt x="130973" y="10235081"/>
                  <a:pt x="5110" y="7157360"/>
                </a:cubicBezTo>
                <a:lnTo>
                  <a:pt x="0" y="6906997"/>
                </a:lnTo>
                <a:lnTo>
                  <a:pt x="0" y="6809003"/>
                </a:lnTo>
                <a:lnTo>
                  <a:pt x="5110" y="6558641"/>
                </a:lnTo>
                <a:cubicBezTo>
                  <a:pt x="130973" y="3480920"/>
                  <a:pt x="2188680" y="901327"/>
                  <a:pt x="4997975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225" y="2377414"/>
            <a:ext cx="5335677" cy="1828193"/>
          </a:xfrm>
        </p:spPr>
        <p:txBody>
          <a:bodyPr wrap="square" lIns="0" tIns="0" rIns="0" bIns="0">
            <a:noAutofit/>
          </a:bodyPr>
          <a:lstStyle>
            <a:lvl1pPr>
              <a:defRPr sz="440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4D68BA00-0BAE-284F-9191-B14A69B605A9}" type="datetime1">
              <a:t>06.06.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en-GB"/>
              <a:t>Presentasjonens eller kapittelets titt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C6A6BCC-FF39-42D9-ACE8-4D7C3119893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Frihåndsform: figur 10">
            <a:extLst>
              <a:ext uri="{FF2B5EF4-FFF2-40B4-BE49-F238E27FC236}">
                <a16:creationId xmlns:a16="http://schemas.microsoft.com/office/drawing/2014/main" id="{9D0BA09F-1AB7-4820-AAF4-357B04379CF2}"/>
              </a:ext>
            </a:extLst>
          </p:cNvPr>
          <p:cNvSpPr/>
          <p:nvPr/>
        </p:nvSpPr>
        <p:spPr>
          <a:xfrm>
            <a:off x="0" y="5111640"/>
            <a:ext cx="1746929" cy="1746360"/>
          </a:xfrm>
          <a:custGeom>
            <a:avLst/>
            <a:gdLst>
              <a:gd name="connsiteX0" fmla="*/ 3492720 w 3492720"/>
              <a:gd name="connsiteY0" fmla="*/ 3493640 h 3492720"/>
              <a:gd name="connsiteX1" fmla="*/ 0 w 3492720"/>
              <a:gd name="connsiteY1" fmla="*/ 920 h 3492720"/>
              <a:gd name="connsiteX2" fmla="*/ 0 w 3492720"/>
              <a:gd name="connsiteY2" fmla="*/ 3493640 h 349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2720" h="3492720">
                <a:moveTo>
                  <a:pt x="3492720" y="3493640"/>
                </a:moveTo>
                <a:cubicBezTo>
                  <a:pt x="3492720" y="1564642"/>
                  <a:pt x="1928998" y="920"/>
                  <a:pt x="0" y="920"/>
                </a:cubicBezTo>
                <a:lnTo>
                  <a:pt x="0" y="3493640"/>
                </a:lnTo>
                <a:close/>
              </a:path>
            </a:pathLst>
          </a:custGeom>
          <a:solidFill>
            <a:schemeClr val="accent3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450"/>
          </a:p>
        </p:txBody>
      </p:sp>
      <p:sp>
        <p:nvSpPr>
          <p:cNvPr id="22" name="Plassholder for tekst 29">
            <a:extLst>
              <a:ext uri="{FF2B5EF4-FFF2-40B4-BE49-F238E27FC236}">
                <a16:creationId xmlns:a16="http://schemas.microsoft.com/office/drawing/2014/main" id="{467C46CA-B925-4F9D-9892-3BE03A88CE0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11682247" y="6096768"/>
            <a:ext cx="509753" cy="50958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  <p:sp>
        <p:nvSpPr>
          <p:cNvPr id="26" name="Plassholder for tekst 29">
            <a:extLst>
              <a:ext uri="{FF2B5EF4-FFF2-40B4-BE49-F238E27FC236}">
                <a16:creationId xmlns:a16="http://schemas.microsoft.com/office/drawing/2014/main" id="{9C07BABA-FE02-49A3-8612-5A4D1589C4C0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11320411" y="6230098"/>
            <a:ext cx="12606" cy="24123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806286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bilde høyre #2  (Variant 3)">
    <p:bg>
      <p:bgPr>
        <a:solidFill>
          <a:srgbClr val="ED3F2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ihåndsform: figur 17">
            <a:extLst>
              <a:ext uri="{FF2B5EF4-FFF2-40B4-BE49-F238E27FC236}">
                <a16:creationId xmlns:a16="http://schemas.microsoft.com/office/drawing/2014/main" id="{BB19A6C7-78C4-450C-8F12-BC74CFD6DFBE}"/>
              </a:ext>
            </a:extLst>
          </p:cNvPr>
          <p:cNvSpPr/>
          <p:nvPr/>
        </p:nvSpPr>
        <p:spPr>
          <a:xfrm>
            <a:off x="5173984" y="1"/>
            <a:ext cx="7018017" cy="3638869"/>
          </a:xfrm>
          <a:custGeom>
            <a:avLst/>
            <a:gdLst>
              <a:gd name="connsiteX0" fmla="*/ 0 w 14031465"/>
              <a:gd name="connsiteY0" fmla="*/ 0 h 7277737"/>
              <a:gd name="connsiteX1" fmla="*/ 14031465 w 14031465"/>
              <a:gd name="connsiteY1" fmla="*/ 0 h 7277737"/>
              <a:gd name="connsiteX2" fmla="*/ 14031465 w 14031465"/>
              <a:gd name="connsiteY2" fmla="*/ 5966641 h 7277737"/>
              <a:gd name="connsiteX3" fmla="*/ 13790543 w 14031465"/>
              <a:gd name="connsiteY3" fmla="*/ 6105898 h 7277737"/>
              <a:gd name="connsiteX4" fmla="*/ 9220983 w 14031465"/>
              <a:gd name="connsiteY4" fmla="*/ 7277737 h 7277737"/>
              <a:gd name="connsiteX5" fmla="*/ 38329 w 14031465"/>
              <a:gd name="connsiteY5" fmla="*/ 166074 h 727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031465" h="7277737">
                <a:moveTo>
                  <a:pt x="0" y="0"/>
                </a:moveTo>
                <a:lnTo>
                  <a:pt x="14031465" y="0"/>
                </a:lnTo>
                <a:lnTo>
                  <a:pt x="14031465" y="5966641"/>
                </a:lnTo>
                <a:lnTo>
                  <a:pt x="13790543" y="6105898"/>
                </a:lnTo>
                <a:cubicBezTo>
                  <a:pt x="12435315" y="6852772"/>
                  <a:pt x="10877777" y="7277737"/>
                  <a:pt x="9220983" y="7277737"/>
                </a:cubicBezTo>
                <a:cubicBezTo>
                  <a:pt x="4802867" y="7277737"/>
                  <a:pt x="1090560" y="4255761"/>
                  <a:pt x="38329" y="166074"/>
                </a:cubicBezTo>
                <a:close/>
              </a:path>
            </a:pathLst>
          </a:custGeom>
          <a:solidFill>
            <a:schemeClr val="accent3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450"/>
          </a:p>
        </p:txBody>
      </p:sp>
      <p:sp>
        <p:nvSpPr>
          <p:cNvPr id="14" name="Plassholder for bilde 10">
            <a:extLst>
              <a:ext uri="{FF2B5EF4-FFF2-40B4-BE49-F238E27FC236}">
                <a16:creationId xmlns:a16="http://schemas.microsoft.com/office/drawing/2014/main" id="{3F7E708B-D066-4A8C-A430-D0A7FD91CC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4039" y="253571"/>
            <a:ext cx="5527799" cy="6351724"/>
          </a:xfrm>
          <a:prstGeom prst="roundRect">
            <a:avLst>
              <a:gd name="adj" fmla="val 2388"/>
            </a:avLst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225" y="2377414"/>
            <a:ext cx="5335677" cy="1828193"/>
          </a:xfrm>
        </p:spPr>
        <p:txBody>
          <a:bodyPr wrap="square" lIns="0" tIns="0" rIns="0" bIns="0">
            <a:noAutofit/>
          </a:bodyPr>
          <a:lstStyle>
            <a:lvl1pPr>
              <a:defRPr sz="440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3646E787-39CF-534A-8234-36635AEE6642}" type="datetime1">
              <a:t>06.06.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en-GB"/>
              <a:t>Presentasjonens eller kapittelets titt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C6A6BCC-FF39-42D9-ACE8-4D7C3119893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Frihåndsform: figur 10">
            <a:extLst>
              <a:ext uri="{FF2B5EF4-FFF2-40B4-BE49-F238E27FC236}">
                <a16:creationId xmlns:a16="http://schemas.microsoft.com/office/drawing/2014/main" id="{9D0BA09F-1AB7-4820-AAF4-357B04379CF2}"/>
              </a:ext>
            </a:extLst>
          </p:cNvPr>
          <p:cNvSpPr/>
          <p:nvPr/>
        </p:nvSpPr>
        <p:spPr>
          <a:xfrm>
            <a:off x="0" y="5111640"/>
            <a:ext cx="1746929" cy="1746360"/>
          </a:xfrm>
          <a:custGeom>
            <a:avLst/>
            <a:gdLst>
              <a:gd name="connsiteX0" fmla="*/ 3492720 w 3492720"/>
              <a:gd name="connsiteY0" fmla="*/ 3493640 h 3492720"/>
              <a:gd name="connsiteX1" fmla="*/ 0 w 3492720"/>
              <a:gd name="connsiteY1" fmla="*/ 920 h 3492720"/>
              <a:gd name="connsiteX2" fmla="*/ 0 w 3492720"/>
              <a:gd name="connsiteY2" fmla="*/ 3493640 h 349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2720" h="3492720">
                <a:moveTo>
                  <a:pt x="3492720" y="3493640"/>
                </a:moveTo>
                <a:cubicBezTo>
                  <a:pt x="3492720" y="1564642"/>
                  <a:pt x="1928998" y="920"/>
                  <a:pt x="0" y="920"/>
                </a:cubicBezTo>
                <a:lnTo>
                  <a:pt x="0" y="3493640"/>
                </a:lnTo>
                <a:close/>
              </a:path>
            </a:pathLst>
          </a:custGeom>
          <a:solidFill>
            <a:schemeClr val="accent3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450"/>
          </a:p>
        </p:txBody>
      </p:sp>
      <p:sp>
        <p:nvSpPr>
          <p:cNvPr id="22" name="Plassholder for tekst 29">
            <a:extLst>
              <a:ext uri="{FF2B5EF4-FFF2-40B4-BE49-F238E27FC236}">
                <a16:creationId xmlns:a16="http://schemas.microsoft.com/office/drawing/2014/main" id="{467C46CA-B925-4F9D-9892-3BE03A88CE0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11682247" y="6096768"/>
            <a:ext cx="509753" cy="50958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  <p:sp>
        <p:nvSpPr>
          <p:cNvPr id="26" name="Plassholder for tekst 29">
            <a:extLst>
              <a:ext uri="{FF2B5EF4-FFF2-40B4-BE49-F238E27FC236}">
                <a16:creationId xmlns:a16="http://schemas.microsoft.com/office/drawing/2014/main" id="{9C07BABA-FE02-49A3-8612-5A4D1589C4C0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11320411" y="6230098"/>
            <a:ext cx="12606" cy="24123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496718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lakat 2">
    <p:bg>
      <p:bgPr>
        <a:solidFill>
          <a:srgbClr val="ED3F2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k 12">
            <a:extLst>
              <a:ext uri="{FF2B5EF4-FFF2-40B4-BE49-F238E27FC236}">
                <a16:creationId xmlns:a16="http://schemas.microsoft.com/office/drawing/2014/main" id="{D3F8853F-5AD2-4741-A009-5E338DFDB6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8224" y="508060"/>
            <a:ext cx="2052668" cy="770824"/>
          </a:xfrm>
          <a:prstGeom prst="rect">
            <a:avLst/>
          </a:prstGeom>
        </p:spPr>
      </p:pic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837C36F4-3439-485F-9F85-8CA1656B1F6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/>
          <a:lstStyle/>
          <a:p>
            <a:fld id="{248DDA0D-1BEE-7A42-B1EE-FBCD3D3D216C}" type="datetime1">
              <a:t>06.06.2024</a:t>
            </a:fld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1AC607D-34F9-4335-B0D4-1F7783103F3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8225" y="2477136"/>
            <a:ext cx="4846568" cy="2097080"/>
          </a:xfrm>
        </p:spPr>
        <p:txBody>
          <a:bodyPr wrap="square" lIns="0" tIns="0" rIns="0" bIns="0" anchor="t">
            <a:noAutofit/>
          </a:bodyPr>
          <a:lstStyle>
            <a:lvl1pPr algn="l">
              <a:lnSpc>
                <a:spcPct val="95000"/>
              </a:lnSpc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86B8EF1F-F258-4684-84D0-56CC41E8500D}"/>
              </a:ext>
            </a:extLst>
          </p:cNvPr>
          <p:cNvSpPr/>
          <p:nvPr userDrawn="1"/>
        </p:nvSpPr>
        <p:spPr>
          <a:xfrm>
            <a:off x="6352866" y="635084"/>
            <a:ext cx="5589019" cy="55872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50"/>
          </a:p>
        </p:txBody>
      </p:sp>
      <p:sp>
        <p:nvSpPr>
          <p:cNvPr id="11" name="Plassholder for bunntekst 3">
            <a:extLst>
              <a:ext uri="{FF2B5EF4-FFF2-40B4-BE49-F238E27FC236}">
                <a16:creationId xmlns:a16="http://schemas.microsoft.com/office/drawing/2014/main" id="{BA61E25B-057D-4011-8A6B-0A208C4F39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86780" y="-120060"/>
            <a:ext cx="4114800" cy="15389"/>
          </a:xfrm>
        </p:spPr>
        <p:txBody>
          <a:bodyPr/>
          <a:lstStyle>
            <a:lvl1pPr>
              <a:defRPr sz="100"/>
            </a:lvl1pPr>
          </a:lstStyle>
          <a:p>
            <a:r>
              <a:rPr lang="en-GB"/>
              <a:t>Presentasjonens eller kapittelets tittel</a:t>
            </a:r>
          </a:p>
        </p:txBody>
      </p:sp>
      <p:sp>
        <p:nvSpPr>
          <p:cNvPr id="12" name="Plassholder for lysbildenummer 4">
            <a:extLst>
              <a:ext uri="{FF2B5EF4-FFF2-40B4-BE49-F238E27FC236}">
                <a16:creationId xmlns:a16="http://schemas.microsoft.com/office/drawing/2014/main" id="{3E8C21B8-D9B3-4944-8D30-09E82F4071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246418" y="-120060"/>
            <a:ext cx="226749" cy="15389"/>
          </a:xfrm>
        </p:spPr>
        <p:txBody>
          <a:bodyPr/>
          <a:lstStyle>
            <a:lvl1pPr>
              <a:defRPr sz="100"/>
            </a:lvl1pPr>
          </a:lstStyle>
          <a:p>
            <a:fld id="{2C6A6BCC-FF39-42D9-ACE8-4D7C31198930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501627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bilde (Variant 4)">
    <p:bg>
      <p:bgPr>
        <a:solidFill>
          <a:srgbClr val="554C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225" y="479337"/>
            <a:ext cx="9428774" cy="775597"/>
          </a:xfrm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187EDDC1-E6A6-EE43-B828-2E381EA83ACD}" type="datetime1">
              <a:t>06.06.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en-GB"/>
              <a:t>Presentasjonens eller kapittelets titt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C6A6BCC-FF39-42D9-ACE8-4D7C3119893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Frihåndsform: figur 8">
            <a:extLst>
              <a:ext uri="{FF2B5EF4-FFF2-40B4-BE49-F238E27FC236}">
                <a16:creationId xmlns:a16="http://schemas.microsoft.com/office/drawing/2014/main" id="{A5A3076C-020C-46B3-9627-40067259DBE0}"/>
              </a:ext>
            </a:extLst>
          </p:cNvPr>
          <p:cNvSpPr/>
          <p:nvPr/>
        </p:nvSpPr>
        <p:spPr>
          <a:xfrm>
            <a:off x="10448824" y="0"/>
            <a:ext cx="1746812" cy="1746244"/>
          </a:xfrm>
          <a:custGeom>
            <a:avLst/>
            <a:gdLst>
              <a:gd name="connsiteX0" fmla="*/ 367 w 3492487"/>
              <a:gd name="connsiteY0" fmla="*/ 0 h 3492488"/>
              <a:gd name="connsiteX1" fmla="*/ 3492855 w 3492487"/>
              <a:gd name="connsiteY1" fmla="*/ 3492488 h 3492488"/>
              <a:gd name="connsiteX2" fmla="*/ 3492855 w 3492487"/>
              <a:gd name="connsiteY2" fmla="*/ 0 h 3492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2487" h="3492488">
                <a:moveTo>
                  <a:pt x="367" y="0"/>
                </a:moveTo>
                <a:cubicBezTo>
                  <a:pt x="367" y="1928870"/>
                  <a:pt x="1563986" y="3492488"/>
                  <a:pt x="3492855" y="3492488"/>
                </a:cubicBezTo>
                <a:lnTo>
                  <a:pt x="3492855" y="0"/>
                </a:lnTo>
                <a:close/>
              </a:path>
            </a:pathLst>
          </a:custGeom>
          <a:solidFill>
            <a:schemeClr val="accent6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450"/>
          </a:p>
        </p:txBody>
      </p:sp>
      <p:sp>
        <p:nvSpPr>
          <p:cNvPr id="13" name="Frihåndsform: figur 12">
            <a:extLst>
              <a:ext uri="{FF2B5EF4-FFF2-40B4-BE49-F238E27FC236}">
                <a16:creationId xmlns:a16="http://schemas.microsoft.com/office/drawing/2014/main" id="{ABC5F55F-5983-487D-A0C6-07FE474F2A87}"/>
              </a:ext>
            </a:extLst>
          </p:cNvPr>
          <p:cNvSpPr/>
          <p:nvPr/>
        </p:nvSpPr>
        <p:spPr>
          <a:xfrm>
            <a:off x="44273" y="3219439"/>
            <a:ext cx="7022164" cy="3638561"/>
          </a:xfrm>
          <a:custGeom>
            <a:avLst/>
            <a:gdLst>
              <a:gd name="connsiteX0" fmla="*/ 4819416 w 14039757"/>
              <a:gd name="connsiteY0" fmla="*/ 0 h 7277122"/>
              <a:gd name="connsiteX1" fmla="*/ 14001460 w 14039757"/>
              <a:gd name="connsiteY1" fmla="*/ 7111191 h 7277122"/>
              <a:gd name="connsiteX2" fmla="*/ 14039757 w 14039757"/>
              <a:gd name="connsiteY2" fmla="*/ 7277122 h 7277122"/>
              <a:gd name="connsiteX3" fmla="*/ 0 w 14039757"/>
              <a:gd name="connsiteY3" fmla="*/ 7277122 h 7277122"/>
              <a:gd name="connsiteX4" fmla="*/ 0 w 14039757"/>
              <a:gd name="connsiteY4" fmla="*/ 1316999 h 7277122"/>
              <a:gd name="connsiteX5" fmla="*/ 300442 w 14039757"/>
              <a:gd name="connsiteY5" fmla="*/ 1144249 h 7277122"/>
              <a:gd name="connsiteX6" fmla="*/ 4819416 w 14039757"/>
              <a:gd name="connsiteY6" fmla="*/ 0 h 72771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039757" h="7277122">
                <a:moveTo>
                  <a:pt x="4819416" y="0"/>
                </a:moveTo>
                <a:cubicBezTo>
                  <a:pt x="9237239" y="0"/>
                  <a:pt x="12949299" y="3021775"/>
                  <a:pt x="14001460" y="7111191"/>
                </a:cubicBezTo>
                <a:lnTo>
                  <a:pt x="14039757" y="7277122"/>
                </a:lnTo>
                <a:lnTo>
                  <a:pt x="0" y="7277122"/>
                </a:lnTo>
                <a:lnTo>
                  <a:pt x="0" y="1316999"/>
                </a:lnTo>
                <a:lnTo>
                  <a:pt x="300442" y="1144249"/>
                </a:lnTo>
                <a:cubicBezTo>
                  <a:pt x="1643767" y="414510"/>
                  <a:pt x="3183185" y="0"/>
                  <a:pt x="4819416" y="0"/>
                </a:cubicBezTo>
                <a:close/>
              </a:path>
            </a:pathLst>
          </a:custGeom>
          <a:solidFill>
            <a:schemeClr val="accent6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450"/>
          </a:p>
        </p:txBody>
      </p:sp>
      <p:sp>
        <p:nvSpPr>
          <p:cNvPr id="15" name="Plassholder for bilde 14">
            <a:extLst>
              <a:ext uri="{FF2B5EF4-FFF2-40B4-BE49-F238E27FC236}">
                <a16:creationId xmlns:a16="http://schemas.microsoft.com/office/drawing/2014/main" id="{D709A46D-5815-4D3F-BA66-48BBFF8105C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629913" y="1428929"/>
            <a:ext cx="4937248" cy="493564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74923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tfallende bilde med tittel  (Variant 4)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llipse 23">
            <a:extLst>
              <a:ext uri="{FF2B5EF4-FFF2-40B4-BE49-F238E27FC236}">
                <a16:creationId xmlns:a16="http://schemas.microsoft.com/office/drawing/2014/main" id="{25F115B0-8BEE-4D68-9944-0FC8FFC8078B}"/>
              </a:ext>
            </a:extLst>
          </p:cNvPr>
          <p:cNvSpPr/>
          <p:nvPr userDrawn="1"/>
        </p:nvSpPr>
        <p:spPr>
          <a:xfrm>
            <a:off x="3629913" y="1428929"/>
            <a:ext cx="4937248" cy="4935641"/>
          </a:xfrm>
          <a:prstGeom prst="ellipse">
            <a:avLst/>
          </a:prstGeom>
          <a:solidFill>
            <a:srgbClr val="554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50"/>
          </a:p>
        </p:txBody>
      </p:sp>
      <p:sp>
        <p:nvSpPr>
          <p:cNvPr id="35" name="Plassholder for bilde 34">
            <a:extLst>
              <a:ext uri="{FF2B5EF4-FFF2-40B4-BE49-F238E27FC236}">
                <a16:creationId xmlns:a16="http://schemas.microsoft.com/office/drawing/2014/main" id="{58E12416-0D89-4638-90ED-D533504B3CB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621" y="0"/>
            <a:ext cx="12193473" cy="6858000"/>
          </a:xfrm>
          <a:custGeom>
            <a:avLst/>
            <a:gdLst>
              <a:gd name="connsiteX0" fmla="*/ 0 w 24379009"/>
              <a:gd name="connsiteY0" fmla="*/ 0 h 13716000"/>
              <a:gd name="connsiteX1" fmla="*/ 20883941 w 24379009"/>
              <a:gd name="connsiteY1" fmla="*/ 0 h 13716000"/>
              <a:gd name="connsiteX2" fmla="*/ 24376429 w 24379009"/>
              <a:gd name="connsiteY2" fmla="*/ 3492488 h 13716000"/>
              <a:gd name="connsiteX3" fmla="*/ 24379009 w 24379009"/>
              <a:gd name="connsiteY3" fmla="*/ 13716000 h 13716000"/>
              <a:gd name="connsiteX4" fmla="*/ 9290409 w 24379009"/>
              <a:gd name="connsiteY4" fmla="*/ 13716000 h 13716000"/>
              <a:gd name="connsiteX5" fmla="*/ 9308801 w 24379009"/>
              <a:gd name="connsiteY5" fmla="*/ 13665749 h 13716000"/>
              <a:gd name="connsiteX6" fmla="*/ 9437284 w 24379009"/>
              <a:gd name="connsiteY6" fmla="*/ 12815910 h 13716000"/>
              <a:gd name="connsiteX7" fmla="*/ 9308801 w 24379009"/>
              <a:gd name="connsiteY7" fmla="*/ 11966071 h 13716000"/>
              <a:gd name="connsiteX8" fmla="*/ 9224835 w 24379009"/>
              <a:gd name="connsiteY8" fmla="*/ 11736659 h 13716000"/>
              <a:gd name="connsiteX9" fmla="*/ 9240032 w 24379009"/>
              <a:gd name="connsiteY9" fmla="*/ 11748601 h 13716000"/>
              <a:gd name="connsiteX10" fmla="*/ 12193104 w 24379009"/>
              <a:gd name="connsiteY10" fmla="*/ 12729138 h 13716000"/>
              <a:gd name="connsiteX11" fmla="*/ 17128745 w 24379009"/>
              <a:gd name="connsiteY11" fmla="*/ 7793497 h 13716000"/>
              <a:gd name="connsiteX12" fmla="*/ 12193104 w 24379009"/>
              <a:gd name="connsiteY12" fmla="*/ 2857856 h 13716000"/>
              <a:gd name="connsiteX13" fmla="*/ 7257466 w 24379009"/>
              <a:gd name="connsiteY13" fmla="*/ 7793497 h 13716000"/>
              <a:gd name="connsiteX14" fmla="*/ 7853171 w 24379009"/>
              <a:gd name="connsiteY14" fmla="*/ 10146116 h 13716000"/>
              <a:gd name="connsiteX15" fmla="*/ 7952453 w 24379009"/>
              <a:gd name="connsiteY15" fmla="*/ 10309542 h 13716000"/>
              <a:gd name="connsiteX16" fmla="*/ 7941655 w 24379009"/>
              <a:gd name="connsiteY16" fmla="*/ 10302981 h 13716000"/>
              <a:gd name="connsiteX17" fmla="*/ 6579430 w 24379009"/>
              <a:gd name="connsiteY17" fmla="*/ 9958053 h 13716000"/>
              <a:gd name="connsiteX18" fmla="*/ 3721572 w 24379009"/>
              <a:gd name="connsiteY18" fmla="*/ 12815910 h 13716000"/>
              <a:gd name="connsiteX19" fmla="*/ 3850055 w 24379009"/>
              <a:gd name="connsiteY19" fmla="*/ 13665749 h 13716000"/>
              <a:gd name="connsiteX20" fmla="*/ 3868448 w 24379009"/>
              <a:gd name="connsiteY20" fmla="*/ 13716000 h 13716000"/>
              <a:gd name="connsiteX21" fmla="*/ 0 w 24379009"/>
              <a:gd name="connsiteY21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4379009" h="13716000">
                <a:moveTo>
                  <a:pt x="0" y="0"/>
                </a:moveTo>
                <a:lnTo>
                  <a:pt x="20883941" y="0"/>
                </a:lnTo>
                <a:cubicBezTo>
                  <a:pt x="20883941" y="1928870"/>
                  <a:pt x="22447561" y="3492488"/>
                  <a:pt x="24376429" y="3492488"/>
                </a:cubicBezTo>
                <a:cubicBezTo>
                  <a:pt x="24377289" y="6900325"/>
                  <a:pt x="24378149" y="10308163"/>
                  <a:pt x="24379009" y="13716000"/>
                </a:cubicBezTo>
                <a:lnTo>
                  <a:pt x="9290409" y="13716000"/>
                </a:lnTo>
                <a:lnTo>
                  <a:pt x="9308801" y="13665749"/>
                </a:lnTo>
                <a:cubicBezTo>
                  <a:pt x="9392302" y="13397285"/>
                  <a:pt x="9437284" y="13111851"/>
                  <a:pt x="9437284" y="12815910"/>
                </a:cubicBezTo>
                <a:cubicBezTo>
                  <a:pt x="9437284" y="12519969"/>
                  <a:pt x="9392302" y="12234535"/>
                  <a:pt x="9308801" y="11966071"/>
                </a:cubicBezTo>
                <a:lnTo>
                  <a:pt x="9224835" y="11736659"/>
                </a:lnTo>
                <a:lnTo>
                  <a:pt x="9240032" y="11748601"/>
                </a:lnTo>
                <a:cubicBezTo>
                  <a:pt x="10063507" y="12364441"/>
                  <a:pt x="11085716" y="12729138"/>
                  <a:pt x="12193104" y="12729138"/>
                </a:cubicBezTo>
                <a:cubicBezTo>
                  <a:pt x="14918983" y="12729138"/>
                  <a:pt x="17128745" y="10519376"/>
                  <a:pt x="17128745" y="7793497"/>
                </a:cubicBezTo>
                <a:cubicBezTo>
                  <a:pt x="17128745" y="5067618"/>
                  <a:pt x="14918983" y="2857856"/>
                  <a:pt x="12193104" y="2857856"/>
                </a:cubicBezTo>
                <a:cubicBezTo>
                  <a:pt x="9467225" y="2857856"/>
                  <a:pt x="7257466" y="5067618"/>
                  <a:pt x="7257466" y="7793497"/>
                </a:cubicBezTo>
                <a:cubicBezTo>
                  <a:pt x="7257466" y="8645334"/>
                  <a:pt x="7473261" y="9446769"/>
                  <a:pt x="7853171" y="10146116"/>
                </a:cubicBezTo>
                <a:lnTo>
                  <a:pt x="7952453" y="10309542"/>
                </a:lnTo>
                <a:lnTo>
                  <a:pt x="7941655" y="10302981"/>
                </a:lnTo>
                <a:cubicBezTo>
                  <a:pt x="7536716" y="10083005"/>
                  <a:pt x="7072664" y="9958053"/>
                  <a:pt x="6579430" y="9958053"/>
                </a:cubicBezTo>
                <a:cubicBezTo>
                  <a:pt x="5001079" y="9958053"/>
                  <a:pt x="3721572" y="11237559"/>
                  <a:pt x="3721572" y="12815910"/>
                </a:cubicBezTo>
                <a:cubicBezTo>
                  <a:pt x="3721572" y="13111851"/>
                  <a:pt x="3766555" y="13397285"/>
                  <a:pt x="3850055" y="13665749"/>
                </a:cubicBezTo>
                <a:lnTo>
                  <a:pt x="3868448" y="13716000"/>
                </a:lnTo>
                <a:lnTo>
                  <a:pt x="0" y="13716000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 lIns="0" tIns="0" rIns="0" bIns="0">
            <a:noAutofit/>
          </a:bodyPr>
          <a:lstStyle>
            <a:lvl1pPr>
              <a:defRPr/>
            </a:lvl1pPr>
          </a:lstStyle>
          <a:p>
            <a:r>
              <a:rPr lang="en-GB"/>
              <a:t>Sett inn </a:t>
            </a:r>
            <a:r>
              <a:rPr lang="en-GB" err="1"/>
              <a:t>bilde</a:t>
            </a:r>
            <a:r>
              <a:rPr lang="en-GB"/>
              <a:t> via “Sett inn” -&gt; “Bilde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29913" y="1428929"/>
            <a:ext cx="4937248" cy="4935641"/>
          </a:xfrm>
          <a:prstGeom prst="ellipse">
            <a:avLst/>
          </a:prstGeom>
          <a:noFill/>
        </p:spPr>
        <p:txBody>
          <a:bodyPr lIns="0" tIns="0" rIns="0" bIns="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83DACA20-8D62-5B48-A09A-3DAFEED18C78}" type="datetime1">
              <a:t>06.06.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en-GB"/>
              <a:t>Presentasjonens eller kapittelets titt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C6A6BCC-FF39-42D9-ACE8-4D7C3119893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1" name="Plassholder for tekst 29">
            <a:extLst>
              <a:ext uri="{FF2B5EF4-FFF2-40B4-BE49-F238E27FC236}">
                <a16:creationId xmlns:a16="http://schemas.microsoft.com/office/drawing/2014/main" id="{54FE5D8A-CDA7-45DD-9B27-02A834C31FFD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11682247" y="6096768"/>
            <a:ext cx="509753" cy="50958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  <p:sp>
        <p:nvSpPr>
          <p:cNvPr id="36" name="Plassholder for tekst 29">
            <a:extLst>
              <a:ext uri="{FF2B5EF4-FFF2-40B4-BE49-F238E27FC236}">
                <a16:creationId xmlns:a16="http://schemas.microsoft.com/office/drawing/2014/main" id="{AFA1220D-1696-435F-9FE2-43D4D7829CE9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11320411" y="6230098"/>
            <a:ext cx="12606" cy="24123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40664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bilde høyre  (Variant 4)">
    <p:bg>
      <p:bgPr>
        <a:solidFill>
          <a:srgbClr val="554C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ihåndsform: figur 17">
            <a:extLst>
              <a:ext uri="{FF2B5EF4-FFF2-40B4-BE49-F238E27FC236}">
                <a16:creationId xmlns:a16="http://schemas.microsoft.com/office/drawing/2014/main" id="{BB19A6C7-78C4-450C-8F12-BC74CFD6DFBE}"/>
              </a:ext>
            </a:extLst>
          </p:cNvPr>
          <p:cNvSpPr/>
          <p:nvPr/>
        </p:nvSpPr>
        <p:spPr>
          <a:xfrm>
            <a:off x="5173984" y="1"/>
            <a:ext cx="7018017" cy="3638869"/>
          </a:xfrm>
          <a:custGeom>
            <a:avLst/>
            <a:gdLst>
              <a:gd name="connsiteX0" fmla="*/ 0 w 14031465"/>
              <a:gd name="connsiteY0" fmla="*/ 0 h 7277737"/>
              <a:gd name="connsiteX1" fmla="*/ 14031465 w 14031465"/>
              <a:gd name="connsiteY1" fmla="*/ 0 h 7277737"/>
              <a:gd name="connsiteX2" fmla="*/ 14031465 w 14031465"/>
              <a:gd name="connsiteY2" fmla="*/ 5966641 h 7277737"/>
              <a:gd name="connsiteX3" fmla="*/ 13790543 w 14031465"/>
              <a:gd name="connsiteY3" fmla="*/ 6105898 h 7277737"/>
              <a:gd name="connsiteX4" fmla="*/ 9220983 w 14031465"/>
              <a:gd name="connsiteY4" fmla="*/ 7277737 h 7277737"/>
              <a:gd name="connsiteX5" fmla="*/ 38329 w 14031465"/>
              <a:gd name="connsiteY5" fmla="*/ 166074 h 727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031465" h="7277737">
                <a:moveTo>
                  <a:pt x="0" y="0"/>
                </a:moveTo>
                <a:lnTo>
                  <a:pt x="14031465" y="0"/>
                </a:lnTo>
                <a:lnTo>
                  <a:pt x="14031465" y="5966641"/>
                </a:lnTo>
                <a:lnTo>
                  <a:pt x="13790543" y="6105898"/>
                </a:lnTo>
                <a:cubicBezTo>
                  <a:pt x="12435315" y="6852772"/>
                  <a:pt x="10877777" y="7277737"/>
                  <a:pt x="9220983" y="7277737"/>
                </a:cubicBezTo>
                <a:cubicBezTo>
                  <a:pt x="4802867" y="7277737"/>
                  <a:pt x="1090560" y="4255761"/>
                  <a:pt x="38329" y="166074"/>
                </a:cubicBezTo>
                <a:close/>
              </a:path>
            </a:pathLst>
          </a:custGeom>
          <a:solidFill>
            <a:schemeClr val="accent6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450"/>
          </a:p>
        </p:txBody>
      </p:sp>
      <p:sp>
        <p:nvSpPr>
          <p:cNvPr id="21" name="Plassholder for bilde 20">
            <a:extLst>
              <a:ext uri="{FF2B5EF4-FFF2-40B4-BE49-F238E27FC236}">
                <a16:creationId xmlns:a16="http://schemas.microsoft.com/office/drawing/2014/main" id="{C88DF1A1-BDE6-40B9-BC88-1B0F743215D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46248" y="0"/>
            <a:ext cx="5845752" cy="6858000"/>
          </a:xfrm>
          <a:custGeom>
            <a:avLst/>
            <a:gdLst>
              <a:gd name="connsiteX0" fmla="*/ 4997975 w 11687699"/>
              <a:gd name="connsiteY0" fmla="*/ 0 h 13716000"/>
              <a:gd name="connsiteX1" fmla="*/ 9401699 w 11687699"/>
              <a:gd name="connsiteY1" fmla="*/ 0 h 13716000"/>
              <a:gd name="connsiteX2" fmla="*/ 11687699 w 11687699"/>
              <a:gd name="connsiteY2" fmla="*/ 1226312 h 13716000"/>
              <a:gd name="connsiteX3" fmla="*/ 11687699 w 11687699"/>
              <a:gd name="connsiteY3" fmla="*/ 12489688 h 13716000"/>
              <a:gd name="connsiteX4" fmla="*/ 9401699 w 11687699"/>
              <a:gd name="connsiteY4" fmla="*/ 13716000 h 13716000"/>
              <a:gd name="connsiteX5" fmla="*/ 4997847 w 11687699"/>
              <a:gd name="connsiteY5" fmla="*/ 13716000 h 13716000"/>
              <a:gd name="connsiteX6" fmla="*/ 5110 w 11687699"/>
              <a:gd name="connsiteY6" fmla="*/ 7157360 h 13716000"/>
              <a:gd name="connsiteX7" fmla="*/ 0 w 11687699"/>
              <a:gd name="connsiteY7" fmla="*/ 6906997 h 13716000"/>
              <a:gd name="connsiteX8" fmla="*/ 0 w 11687699"/>
              <a:gd name="connsiteY8" fmla="*/ 6809003 h 13716000"/>
              <a:gd name="connsiteX9" fmla="*/ 5110 w 11687699"/>
              <a:gd name="connsiteY9" fmla="*/ 6558641 h 13716000"/>
              <a:gd name="connsiteX10" fmla="*/ 4997975 w 11687699"/>
              <a:gd name="connsiteY10" fmla="*/ 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687699" h="13716000">
                <a:moveTo>
                  <a:pt x="4997975" y="0"/>
                </a:moveTo>
                <a:lnTo>
                  <a:pt x="9401699" y="0"/>
                </a:lnTo>
                <a:cubicBezTo>
                  <a:pt x="10231771" y="266706"/>
                  <a:pt x="11006345" y="682247"/>
                  <a:pt x="11687699" y="1226312"/>
                </a:cubicBezTo>
                <a:lnTo>
                  <a:pt x="11687699" y="12489688"/>
                </a:lnTo>
                <a:cubicBezTo>
                  <a:pt x="11006345" y="13033756"/>
                  <a:pt x="10231771" y="13449300"/>
                  <a:pt x="9401699" y="13716000"/>
                </a:cubicBezTo>
                <a:lnTo>
                  <a:pt x="4997847" y="13716000"/>
                </a:lnTo>
                <a:cubicBezTo>
                  <a:pt x="2188676" y="12814673"/>
                  <a:pt x="130973" y="10235081"/>
                  <a:pt x="5110" y="7157360"/>
                </a:cubicBezTo>
                <a:lnTo>
                  <a:pt x="0" y="6906997"/>
                </a:lnTo>
                <a:lnTo>
                  <a:pt x="0" y="6809003"/>
                </a:lnTo>
                <a:lnTo>
                  <a:pt x="5110" y="6558641"/>
                </a:lnTo>
                <a:cubicBezTo>
                  <a:pt x="130973" y="3480920"/>
                  <a:pt x="2188680" y="901327"/>
                  <a:pt x="4997975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225" y="2377414"/>
            <a:ext cx="5335677" cy="1828193"/>
          </a:xfrm>
        </p:spPr>
        <p:txBody>
          <a:bodyPr wrap="square" lIns="0" tIns="0" rIns="0" bIns="0">
            <a:noAutofit/>
          </a:bodyPr>
          <a:lstStyle>
            <a:lvl1pPr>
              <a:defRPr sz="440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60983705-EC4B-264F-A0E8-2230E7B1E400}" type="datetime1">
              <a:t>06.06.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en-GB"/>
              <a:t>Presentasjonens eller kapittelets titt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C6A6BCC-FF39-42D9-ACE8-4D7C3119893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Frihåndsform: figur 10">
            <a:extLst>
              <a:ext uri="{FF2B5EF4-FFF2-40B4-BE49-F238E27FC236}">
                <a16:creationId xmlns:a16="http://schemas.microsoft.com/office/drawing/2014/main" id="{9D0BA09F-1AB7-4820-AAF4-357B04379CF2}"/>
              </a:ext>
            </a:extLst>
          </p:cNvPr>
          <p:cNvSpPr/>
          <p:nvPr/>
        </p:nvSpPr>
        <p:spPr>
          <a:xfrm>
            <a:off x="0" y="5111640"/>
            <a:ext cx="1746929" cy="1746360"/>
          </a:xfrm>
          <a:custGeom>
            <a:avLst/>
            <a:gdLst>
              <a:gd name="connsiteX0" fmla="*/ 3492720 w 3492720"/>
              <a:gd name="connsiteY0" fmla="*/ 3493640 h 3492720"/>
              <a:gd name="connsiteX1" fmla="*/ 0 w 3492720"/>
              <a:gd name="connsiteY1" fmla="*/ 920 h 3492720"/>
              <a:gd name="connsiteX2" fmla="*/ 0 w 3492720"/>
              <a:gd name="connsiteY2" fmla="*/ 3493640 h 349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2720" h="3492720">
                <a:moveTo>
                  <a:pt x="3492720" y="3493640"/>
                </a:moveTo>
                <a:cubicBezTo>
                  <a:pt x="3492720" y="1564642"/>
                  <a:pt x="1928998" y="920"/>
                  <a:pt x="0" y="920"/>
                </a:cubicBezTo>
                <a:lnTo>
                  <a:pt x="0" y="3493640"/>
                </a:lnTo>
                <a:close/>
              </a:path>
            </a:pathLst>
          </a:custGeom>
          <a:solidFill>
            <a:schemeClr val="accent6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450"/>
          </a:p>
        </p:txBody>
      </p:sp>
      <p:sp>
        <p:nvSpPr>
          <p:cNvPr id="22" name="Plassholder for tekst 29">
            <a:extLst>
              <a:ext uri="{FF2B5EF4-FFF2-40B4-BE49-F238E27FC236}">
                <a16:creationId xmlns:a16="http://schemas.microsoft.com/office/drawing/2014/main" id="{467C46CA-B925-4F9D-9892-3BE03A88CE0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11682247" y="6096768"/>
            <a:ext cx="509753" cy="50958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  <p:sp>
        <p:nvSpPr>
          <p:cNvPr id="26" name="Plassholder for tekst 29">
            <a:extLst>
              <a:ext uri="{FF2B5EF4-FFF2-40B4-BE49-F238E27FC236}">
                <a16:creationId xmlns:a16="http://schemas.microsoft.com/office/drawing/2014/main" id="{9C07BABA-FE02-49A3-8612-5A4D1589C4C0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11320411" y="6230098"/>
            <a:ext cx="12606" cy="24123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910534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bilde høyre #2  (Variant 4)">
    <p:bg>
      <p:bgPr>
        <a:solidFill>
          <a:srgbClr val="554C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ihåndsform: figur 17">
            <a:extLst>
              <a:ext uri="{FF2B5EF4-FFF2-40B4-BE49-F238E27FC236}">
                <a16:creationId xmlns:a16="http://schemas.microsoft.com/office/drawing/2014/main" id="{BB19A6C7-78C4-450C-8F12-BC74CFD6DFBE}"/>
              </a:ext>
            </a:extLst>
          </p:cNvPr>
          <p:cNvSpPr/>
          <p:nvPr/>
        </p:nvSpPr>
        <p:spPr>
          <a:xfrm>
            <a:off x="5173984" y="1"/>
            <a:ext cx="7018017" cy="3638869"/>
          </a:xfrm>
          <a:custGeom>
            <a:avLst/>
            <a:gdLst>
              <a:gd name="connsiteX0" fmla="*/ 0 w 14031465"/>
              <a:gd name="connsiteY0" fmla="*/ 0 h 7277737"/>
              <a:gd name="connsiteX1" fmla="*/ 14031465 w 14031465"/>
              <a:gd name="connsiteY1" fmla="*/ 0 h 7277737"/>
              <a:gd name="connsiteX2" fmla="*/ 14031465 w 14031465"/>
              <a:gd name="connsiteY2" fmla="*/ 5966641 h 7277737"/>
              <a:gd name="connsiteX3" fmla="*/ 13790543 w 14031465"/>
              <a:gd name="connsiteY3" fmla="*/ 6105898 h 7277737"/>
              <a:gd name="connsiteX4" fmla="*/ 9220983 w 14031465"/>
              <a:gd name="connsiteY4" fmla="*/ 7277737 h 7277737"/>
              <a:gd name="connsiteX5" fmla="*/ 38329 w 14031465"/>
              <a:gd name="connsiteY5" fmla="*/ 166074 h 727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031465" h="7277737">
                <a:moveTo>
                  <a:pt x="0" y="0"/>
                </a:moveTo>
                <a:lnTo>
                  <a:pt x="14031465" y="0"/>
                </a:lnTo>
                <a:lnTo>
                  <a:pt x="14031465" y="5966641"/>
                </a:lnTo>
                <a:lnTo>
                  <a:pt x="13790543" y="6105898"/>
                </a:lnTo>
                <a:cubicBezTo>
                  <a:pt x="12435315" y="6852772"/>
                  <a:pt x="10877777" y="7277737"/>
                  <a:pt x="9220983" y="7277737"/>
                </a:cubicBezTo>
                <a:cubicBezTo>
                  <a:pt x="4802867" y="7277737"/>
                  <a:pt x="1090560" y="4255761"/>
                  <a:pt x="38329" y="166074"/>
                </a:cubicBezTo>
                <a:close/>
              </a:path>
            </a:pathLst>
          </a:custGeom>
          <a:solidFill>
            <a:schemeClr val="accent6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450"/>
          </a:p>
        </p:txBody>
      </p:sp>
      <p:sp>
        <p:nvSpPr>
          <p:cNvPr id="14" name="Plassholder for bilde 10">
            <a:extLst>
              <a:ext uri="{FF2B5EF4-FFF2-40B4-BE49-F238E27FC236}">
                <a16:creationId xmlns:a16="http://schemas.microsoft.com/office/drawing/2014/main" id="{3F7E708B-D066-4A8C-A430-D0A7FD91CC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4039" y="253571"/>
            <a:ext cx="5527799" cy="6351724"/>
          </a:xfrm>
          <a:prstGeom prst="roundRect">
            <a:avLst>
              <a:gd name="adj" fmla="val 2388"/>
            </a:avLst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225" y="2377414"/>
            <a:ext cx="5335677" cy="1828193"/>
          </a:xfrm>
        </p:spPr>
        <p:txBody>
          <a:bodyPr wrap="square" lIns="0" tIns="0" rIns="0" bIns="0">
            <a:noAutofit/>
          </a:bodyPr>
          <a:lstStyle>
            <a:lvl1pPr>
              <a:defRPr sz="440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BDADE9F0-137C-3E45-BA4F-2D8AE242CD3C}" type="datetime1">
              <a:t>06.06.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en-GB"/>
              <a:t>Presentasjonens eller kapittelets titt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C6A6BCC-FF39-42D9-ACE8-4D7C3119893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Frihåndsform: figur 10">
            <a:extLst>
              <a:ext uri="{FF2B5EF4-FFF2-40B4-BE49-F238E27FC236}">
                <a16:creationId xmlns:a16="http://schemas.microsoft.com/office/drawing/2014/main" id="{9D0BA09F-1AB7-4820-AAF4-357B04379CF2}"/>
              </a:ext>
            </a:extLst>
          </p:cNvPr>
          <p:cNvSpPr/>
          <p:nvPr/>
        </p:nvSpPr>
        <p:spPr>
          <a:xfrm>
            <a:off x="0" y="5111640"/>
            <a:ext cx="1746929" cy="1746360"/>
          </a:xfrm>
          <a:custGeom>
            <a:avLst/>
            <a:gdLst>
              <a:gd name="connsiteX0" fmla="*/ 3492720 w 3492720"/>
              <a:gd name="connsiteY0" fmla="*/ 3493640 h 3492720"/>
              <a:gd name="connsiteX1" fmla="*/ 0 w 3492720"/>
              <a:gd name="connsiteY1" fmla="*/ 920 h 3492720"/>
              <a:gd name="connsiteX2" fmla="*/ 0 w 3492720"/>
              <a:gd name="connsiteY2" fmla="*/ 3493640 h 349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2720" h="3492720">
                <a:moveTo>
                  <a:pt x="3492720" y="3493640"/>
                </a:moveTo>
                <a:cubicBezTo>
                  <a:pt x="3492720" y="1564642"/>
                  <a:pt x="1928998" y="920"/>
                  <a:pt x="0" y="920"/>
                </a:cubicBezTo>
                <a:lnTo>
                  <a:pt x="0" y="3493640"/>
                </a:lnTo>
                <a:close/>
              </a:path>
            </a:pathLst>
          </a:custGeom>
          <a:solidFill>
            <a:schemeClr val="accent6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450"/>
          </a:p>
        </p:txBody>
      </p:sp>
      <p:sp>
        <p:nvSpPr>
          <p:cNvPr id="22" name="Plassholder for tekst 29">
            <a:extLst>
              <a:ext uri="{FF2B5EF4-FFF2-40B4-BE49-F238E27FC236}">
                <a16:creationId xmlns:a16="http://schemas.microsoft.com/office/drawing/2014/main" id="{467C46CA-B925-4F9D-9892-3BE03A88CE0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11682247" y="6096768"/>
            <a:ext cx="509753" cy="50958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  <p:sp>
        <p:nvSpPr>
          <p:cNvPr id="26" name="Plassholder for tekst 29">
            <a:extLst>
              <a:ext uri="{FF2B5EF4-FFF2-40B4-BE49-F238E27FC236}">
                <a16:creationId xmlns:a16="http://schemas.microsoft.com/office/drawing/2014/main" id="{9C07BABA-FE02-49A3-8612-5A4D1589C4C0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11320411" y="6230098"/>
            <a:ext cx="12606" cy="24123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108116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lakat 3">
    <p:bg>
      <p:bgPr>
        <a:solidFill>
          <a:srgbClr val="554C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k 12">
            <a:extLst>
              <a:ext uri="{FF2B5EF4-FFF2-40B4-BE49-F238E27FC236}">
                <a16:creationId xmlns:a16="http://schemas.microsoft.com/office/drawing/2014/main" id="{D3F8853F-5AD2-4741-A009-5E338DFDB6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8224" y="508060"/>
            <a:ext cx="2052668" cy="770824"/>
          </a:xfrm>
          <a:prstGeom prst="rect">
            <a:avLst/>
          </a:prstGeom>
        </p:spPr>
      </p:pic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837C36F4-3439-485F-9F85-8CA1656B1F6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/>
          <a:lstStyle/>
          <a:p>
            <a:fld id="{248DDA0D-1BEE-7A42-B1EE-FBCD3D3D216C}" type="datetime1">
              <a:t>06.06.2024</a:t>
            </a:fld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1AC607D-34F9-4335-B0D4-1F7783103F3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8225" y="2477136"/>
            <a:ext cx="4846568" cy="2097080"/>
          </a:xfrm>
        </p:spPr>
        <p:txBody>
          <a:bodyPr wrap="square" lIns="0" tIns="0" rIns="0" bIns="0" anchor="t">
            <a:noAutofit/>
          </a:bodyPr>
          <a:lstStyle>
            <a:lvl1pPr algn="l">
              <a:lnSpc>
                <a:spcPct val="95000"/>
              </a:lnSpc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86B8EF1F-F258-4684-84D0-56CC41E8500D}"/>
              </a:ext>
            </a:extLst>
          </p:cNvPr>
          <p:cNvSpPr/>
          <p:nvPr userDrawn="1"/>
        </p:nvSpPr>
        <p:spPr>
          <a:xfrm>
            <a:off x="6352866" y="635084"/>
            <a:ext cx="5589019" cy="55872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50"/>
          </a:p>
        </p:txBody>
      </p:sp>
      <p:sp>
        <p:nvSpPr>
          <p:cNvPr id="11" name="Plassholder for bunntekst 3">
            <a:extLst>
              <a:ext uri="{FF2B5EF4-FFF2-40B4-BE49-F238E27FC236}">
                <a16:creationId xmlns:a16="http://schemas.microsoft.com/office/drawing/2014/main" id="{BA61E25B-057D-4011-8A6B-0A208C4F39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86780" y="-120060"/>
            <a:ext cx="4114800" cy="15389"/>
          </a:xfrm>
        </p:spPr>
        <p:txBody>
          <a:bodyPr/>
          <a:lstStyle>
            <a:lvl1pPr>
              <a:defRPr sz="100"/>
            </a:lvl1pPr>
          </a:lstStyle>
          <a:p>
            <a:r>
              <a:rPr lang="en-GB"/>
              <a:t>Presentasjonens eller kapittelets tittel</a:t>
            </a:r>
          </a:p>
        </p:txBody>
      </p:sp>
      <p:sp>
        <p:nvSpPr>
          <p:cNvPr id="12" name="Plassholder for lysbildenummer 4">
            <a:extLst>
              <a:ext uri="{FF2B5EF4-FFF2-40B4-BE49-F238E27FC236}">
                <a16:creationId xmlns:a16="http://schemas.microsoft.com/office/drawing/2014/main" id="{3E8C21B8-D9B3-4944-8D30-09E82F4071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246418" y="-120060"/>
            <a:ext cx="226749" cy="15389"/>
          </a:xfrm>
        </p:spPr>
        <p:txBody>
          <a:bodyPr/>
          <a:lstStyle>
            <a:lvl1pPr>
              <a:defRPr sz="100"/>
            </a:lvl1pPr>
          </a:lstStyle>
          <a:p>
            <a:fld id="{2C6A6BCC-FF39-42D9-ACE8-4D7C31198930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940386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2372872"/>
              </p:ext>
            </p:extLst>
          </p:nvPr>
        </p:nvGraphicFramePr>
        <p:xfrm>
          <a:off x="1589" y="1591"/>
          <a:ext cx="1585" cy="15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5" cy="15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  <a:endParaRPr lang="en-GB" noProof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noProof="0"/>
          </a:p>
        </p:txBody>
      </p:sp>
      <p:sp>
        <p:nvSpPr>
          <p:cNvPr id="8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776127" y="6377562"/>
            <a:ext cx="11081444" cy="234049"/>
          </a:xfrm>
        </p:spPr>
        <p:txBody>
          <a:bodyPr wrap="square" lIns="24516" tIns="24516" rIns="24516" bIns="24516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1199" i="1" baseline="0">
                <a:solidFill>
                  <a:schemeClr val="bg1">
                    <a:lumMod val="50000"/>
                  </a:schemeClr>
                </a:solidFill>
              </a:defRPr>
            </a:lvl1pPr>
            <a:lvl2pPr marL="248388" indent="0">
              <a:buNone/>
              <a:defRPr sz="1199">
                <a:solidFill>
                  <a:schemeClr val="bg1">
                    <a:lumMod val="50000"/>
                  </a:schemeClr>
                </a:solidFill>
              </a:defRPr>
            </a:lvl2pPr>
            <a:lvl3pPr marL="488141" indent="0">
              <a:buNone/>
              <a:defRPr sz="1199">
                <a:solidFill>
                  <a:schemeClr val="bg1">
                    <a:lumMod val="50000"/>
                  </a:schemeClr>
                </a:solidFill>
              </a:defRPr>
            </a:lvl3pPr>
            <a:lvl4pPr marL="736531" indent="0">
              <a:buNone/>
              <a:defRPr sz="1199">
                <a:solidFill>
                  <a:schemeClr val="bg1">
                    <a:lumMod val="50000"/>
                  </a:schemeClr>
                </a:solidFill>
              </a:defRPr>
            </a:lvl4pPr>
            <a:lvl5pPr marL="976282" indent="0">
              <a:buNone/>
              <a:defRPr sz="1199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 noProof="0"/>
              <a:t>&lt;Source: Write source references like this: Institution (year), title; Institution (year), title. USE hyperlinks where possible&gt;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7" y="4"/>
            <a:ext cx="1515483" cy="169149"/>
          </a:xfrm>
        </p:spPr>
        <p:txBody>
          <a:bodyPr wrap="square">
            <a:spAutoFit/>
          </a:bodyPr>
          <a:lstStyle>
            <a:lvl1pPr marL="0" indent="0">
              <a:buNone/>
              <a:defRPr sz="1099"/>
            </a:lvl1pPr>
          </a:lstStyle>
          <a:p>
            <a:pPr lvl="0"/>
            <a:r>
              <a:rPr lang="en-GB" noProof="0"/>
              <a:t>&lt;ADD TRACKER TEXT&gt;</a:t>
            </a:r>
          </a:p>
        </p:txBody>
      </p:sp>
    </p:spTree>
    <p:extLst>
      <p:ext uri="{BB962C8B-B14F-4D97-AF65-F5344CB8AC3E}">
        <p14:creationId xmlns:p14="http://schemas.microsoft.com/office/powerpoint/2010/main" val="40946162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e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225" y="479338"/>
            <a:ext cx="11178038" cy="775597"/>
          </a:xfr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lIns="0" tIns="0" rIns="0" bIns="0"/>
          <a:lstStyle/>
          <a:p>
            <a:fld id="{3129ECF1-F0D3-4CD8-9C78-0C81B2D5F5E5}" type="datetimeFigureOut">
              <a:rPr lang="nb-NO" smtClean="0"/>
              <a:t>06.06.2024</a:t>
            </a:fld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4409EF66-46AA-4080-844D-5B92F1A6B3C3}" type="slidenum">
              <a:rPr lang="nb-NO" smtClean="0"/>
              <a:t>‹#›</a:t>
            </a:fld>
            <a:endParaRPr lang="nb-NO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D8986FE9-895D-44E7-8B0C-A530625962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8226" y="1657985"/>
            <a:ext cx="3457125" cy="4351338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330E2F7-1E79-49FF-B1F3-FBCC459D6A8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8683" y="1657985"/>
            <a:ext cx="3457125" cy="4351338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8FFA8EC-5381-431A-A353-70E1893665E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29139" y="1657985"/>
            <a:ext cx="3457125" cy="4351338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56451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2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slideLayout" Target="../slideLayouts/slideLayout64.xml"/><Relationship Id="rId39" Type="http://schemas.openxmlformats.org/officeDocument/2006/relationships/slideLayout" Target="../slideLayouts/slideLayout77.xml"/><Relationship Id="rId21" Type="http://schemas.openxmlformats.org/officeDocument/2006/relationships/slideLayout" Target="../slideLayouts/slideLayout59.xml"/><Relationship Id="rId34" Type="http://schemas.openxmlformats.org/officeDocument/2006/relationships/slideLayout" Target="../slideLayouts/slideLayout72.xml"/><Relationship Id="rId42" Type="http://schemas.openxmlformats.org/officeDocument/2006/relationships/slideLayout" Target="../slideLayouts/slideLayout80.xml"/><Relationship Id="rId47" Type="http://schemas.openxmlformats.org/officeDocument/2006/relationships/slideLayout" Target="../slideLayouts/slideLayout85.xml"/><Relationship Id="rId50" Type="http://schemas.openxmlformats.org/officeDocument/2006/relationships/slideLayout" Target="../slideLayouts/slideLayout88.xml"/><Relationship Id="rId7" Type="http://schemas.openxmlformats.org/officeDocument/2006/relationships/slideLayout" Target="../slideLayouts/slideLayout45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9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32" Type="http://schemas.openxmlformats.org/officeDocument/2006/relationships/slideLayout" Target="../slideLayouts/slideLayout70.xml"/><Relationship Id="rId37" Type="http://schemas.openxmlformats.org/officeDocument/2006/relationships/slideLayout" Target="../slideLayouts/slideLayout75.xml"/><Relationship Id="rId40" Type="http://schemas.openxmlformats.org/officeDocument/2006/relationships/slideLayout" Target="../slideLayouts/slideLayout78.xml"/><Relationship Id="rId45" Type="http://schemas.openxmlformats.org/officeDocument/2006/relationships/slideLayout" Target="../slideLayouts/slideLayout83.xml"/><Relationship Id="rId53" Type="http://schemas.openxmlformats.org/officeDocument/2006/relationships/image" Target="../media/image2.svg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31" Type="http://schemas.openxmlformats.org/officeDocument/2006/relationships/slideLayout" Target="../slideLayouts/slideLayout69.xml"/><Relationship Id="rId44" Type="http://schemas.openxmlformats.org/officeDocument/2006/relationships/slideLayout" Target="../slideLayouts/slideLayout82.xml"/><Relationship Id="rId52" Type="http://schemas.openxmlformats.org/officeDocument/2006/relationships/image" Target="../media/image1.png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slideLayout" Target="../slideLayouts/slideLayout65.xml"/><Relationship Id="rId30" Type="http://schemas.openxmlformats.org/officeDocument/2006/relationships/slideLayout" Target="../slideLayouts/slideLayout68.xml"/><Relationship Id="rId35" Type="http://schemas.openxmlformats.org/officeDocument/2006/relationships/slideLayout" Target="../slideLayouts/slideLayout73.xml"/><Relationship Id="rId43" Type="http://schemas.openxmlformats.org/officeDocument/2006/relationships/slideLayout" Target="../slideLayouts/slideLayout81.xml"/><Relationship Id="rId48" Type="http://schemas.openxmlformats.org/officeDocument/2006/relationships/slideLayout" Target="../slideLayouts/slideLayout86.xml"/><Relationship Id="rId8" Type="http://schemas.openxmlformats.org/officeDocument/2006/relationships/slideLayout" Target="../slideLayouts/slideLayout46.xml"/><Relationship Id="rId51" Type="http://schemas.openxmlformats.org/officeDocument/2006/relationships/theme" Target="../theme/theme2.xml"/><Relationship Id="rId3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slideLayout" Target="../slideLayouts/slideLayout63.xml"/><Relationship Id="rId33" Type="http://schemas.openxmlformats.org/officeDocument/2006/relationships/slideLayout" Target="../slideLayouts/slideLayout71.xml"/><Relationship Id="rId38" Type="http://schemas.openxmlformats.org/officeDocument/2006/relationships/slideLayout" Target="../slideLayouts/slideLayout76.xml"/><Relationship Id="rId46" Type="http://schemas.openxmlformats.org/officeDocument/2006/relationships/slideLayout" Target="../slideLayouts/slideLayout84.xml"/><Relationship Id="rId20" Type="http://schemas.openxmlformats.org/officeDocument/2006/relationships/slideLayout" Target="../slideLayouts/slideLayout58.xml"/><Relationship Id="rId41" Type="http://schemas.openxmlformats.org/officeDocument/2006/relationships/slideLayout" Target="../slideLayouts/slideLayout79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slideLayout" Target="../slideLayouts/slideLayout66.xml"/><Relationship Id="rId36" Type="http://schemas.openxmlformats.org/officeDocument/2006/relationships/slideLayout" Target="../slideLayouts/slideLayout74.xml"/><Relationship Id="rId49" Type="http://schemas.openxmlformats.org/officeDocument/2006/relationships/slideLayout" Target="../slideLayouts/slideLayout8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8225" y="479338"/>
            <a:ext cx="11175586" cy="77559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224" y="1657985"/>
            <a:ext cx="11178038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">
                <a:solidFill>
                  <a:schemeClr val="dk2"/>
                </a:solidFill>
              </a:defRPr>
            </a:lvl1pPr>
          </a:lstStyle>
          <a:p>
            <a:fld id="{3129ECF1-F0D3-4CD8-9C78-0C81B2D5F5E5}" type="datetimeFigureOut">
              <a:rPr lang="nb-NO" smtClean="0"/>
              <a:t>06.06.2024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66437" y="6269625"/>
            <a:ext cx="4114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11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26076" y="6269625"/>
            <a:ext cx="226749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1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4409EF66-46AA-4080-844D-5B92F1A6B3C3}" type="slidenum">
              <a:rPr lang="nb-NO" smtClean="0"/>
              <a:t>‹#›</a:t>
            </a:fld>
            <a:endParaRPr lang="nb-NO"/>
          </a:p>
        </p:txBody>
      </p:sp>
      <p:pic>
        <p:nvPicPr>
          <p:cNvPr id="16" name="Grafikk 15">
            <a:extLst>
              <a:ext uri="{FF2B5EF4-FFF2-40B4-BE49-F238E27FC236}">
                <a16:creationId xmlns:a16="http://schemas.microsoft.com/office/drawing/2014/main" id="{0EAC6C73-B4DF-4FEB-8973-D7236D2768E7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11682248" y="6096768"/>
            <a:ext cx="509753" cy="509588"/>
          </a:xfrm>
          <a:prstGeom prst="rect">
            <a:avLst/>
          </a:prstGeom>
        </p:spPr>
      </p:pic>
      <p:cxnSp>
        <p:nvCxnSpPr>
          <p:cNvPr id="8" name="Rett linje 7">
            <a:extLst>
              <a:ext uri="{FF2B5EF4-FFF2-40B4-BE49-F238E27FC236}">
                <a16:creationId xmlns:a16="http://schemas.microsoft.com/office/drawing/2014/main" id="{B54C5998-017C-49F3-BC1E-F9B340CB2B20}"/>
              </a:ext>
            </a:extLst>
          </p:cNvPr>
          <p:cNvCxnSpPr/>
          <p:nvPr/>
        </p:nvCxnSpPr>
        <p:spPr>
          <a:xfrm>
            <a:off x="11326075" y="6230128"/>
            <a:ext cx="0" cy="241200"/>
          </a:xfrm>
          <a:prstGeom prst="line">
            <a:avLst/>
          </a:prstGeom>
          <a:ln w="25400">
            <a:solidFill>
              <a:schemeClr val="l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85337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747" r:id="rId36"/>
    <p:sldLayoutId id="2147483748" r:id="rId37"/>
    <p:sldLayoutId id="2147483749" r:id="rId38"/>
  </p:sldLayoutIdLst>
  <p:txStyles>
    <p:titleStyle>
      <a:lvl1pPr algn="l" defTabSz="913760" rtl="0" eaLnBrk="1" latinLnBrk="0" hangingPunct="1">
        <a:lnSpc>
          <a:spcPct val="90000"/>
        </a:lnSpc>
        <a:spcBef>
          <a:spcPct val="0"/>
        </a:spcBef>
        <a:buNone/>
        <a:defRPr sz="2799" b="1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228440" indent="-228440" algn="l" defTabSz="913760" rtl="0" eaLnBrk="1" latinLnBrk="0" hangingPunct="1">
        <a:lnSpc>
          <a:spcPct val="100000"/>
        </a:lnSpc>
        <a:spcBef>
          <a:spcPts val="0"/>
        </a:spcBef>
        <a:buClr>
          <a:schemeClr val="bg2">
            <a:lumMod val="75000"/>
          </a:schemeClr>
        </a:buClr>
        <a:buFont typeface="Arial" panose="020B0604020202020204" pitchFamily="34" charset="0"/>
        <a:buChar char="•"/>
        <a:defRPr sz="1800" kern="1200">
          <a:solidFill>
            <a:schemeClr val="dk2"/>
          </a:solidFill>
          <a:latin typeface="+mn-lt"/>
          <a:ea typeface="+mn-ea"/>
          <a:cs typeface="+mn-cs"/>
        </a:defRPr>
      </a:lvl1pPr>
      <a:lvl2pPr marL="685320" indent="-228440" algn="l" defTabSz="913760" rtl="0" eaLnBrk="1" latinLnBrk="0" hangingPunct="1">
        <a:lnSpc>
          <a:spcPct val="100000"/>
        </a:lnSpc>
        <a:spcBef>
          <a:spcPts val="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dk2"/>
          </a:solidFill>
          <a:latin typeface="+mn-lt"/>
          <a:ea typeface="+mn-ea"/>
          <a:cs typeface="+mn-cs"/>
        </a:defRPr>
      </a:lvl2pPr>
      <a:lvl3pPr marL="1142200" indent="-228440" algn="l" defTabSz="913760" rtl="0" eaLnBrk="1" latinLnBrk="0" hangingPunct="1">
        <a:lnSpc>
          <a:spcPct val="100000"/>
        </a:lnSpc>
        <a:spcBef>
          <a:spcPts val="0"/>
        </a:spcBef>
        <a:buClr>
          <a:schemeClr val="bg2"/>
        </a:buClr>
        <a:buFont typeface="Arial" panose="020B0604020202020204" pitchFamily="34" charset="0"/>
        <a:buChar char="•"/>
        <a:defRPr sz="1400" kern="1200">
          <a:solidFill>
            <a:schemeClr val="dk2"/>
          </a:solidFill>
          <a:latin typeface="+mn-lt"/>
          <a:ea typeface="+mn-ea"/>
          <a:cs typeface="+mn-cs"/>
        </a:defRPr>
      </a:lvl3pPr>
      <a:lvl4pPr marL="1599080" indent="-228440" algn="l" defTabSz="913760" rtl="0" eaLnBrk="1" latinLnBrk="0" hangingPunct="1">
        <a:lnSpc>
          <a:spcPct val="100000"/>
        </a:lnSpc>
        <a:spcBef>
          <a:spcPts val="0"/>
        </a:spcBef>
        <a:buClr>
          <a:schemeClr val="bg2"/>
        </a:buClr>
        <a:buFont typeface="Arial" panose="020B0604020202020204" pitchFamily="34" charset="0"/>
        <a:buChar char="•"/>
        <a:defRPr sz="1400" kern="1200">
          <a:solidFill>
            <a:schemeClr val="dk2"/>
          </a:solidFill>
          <a:latin typeface="+mn-lt"/>
          <a:ea typeface="+mn-ea"/>
          <a:cs typeface="+mn-cs"/>
        </a:defRPr>
      </a:lvl4pPr>
      <a:lvl5pPr marL="2055960" indent="-228440" algn="l" defTabSz="913760" rtl="0" eaLnBrk="1" latinLnBrk="0" hangingPunct="1">
        <a:lnSpc>
          <a:spcPct val="100000"/>
        </a:lnSpc>
        <a:spcBef>
          <a:spcPts val="0"/>
        </a:spcBef>
        <a:buClr>
          <a:schemeClr val="bg2"/>
        </a:buClr>
        <a:buFont typeface="Arial" panose="020B0604020202020204" pitchFamily="34" charset="0"/>
        <a:buChar char="•"/>
        <a:defRPr sz="1400" kern="1200">
          <a:solidFill>
            <a:schemeClr val="dk2"/>
          </a:solidFill>
          <a:latin typeface="+mn-lt"/>
          <a:ea typeface="+mn-ea"/>
          <a:cs typeface="+mn-cs"/>
        </a:defRPr>
      </a:lvl5pPr>
      <a:lvl6pPr marL="2512840" indent="-228440" algn="l" defTabSz="91376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69720" indent="-228440" algn="l" defTabSz="91376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601" indent="-228440" algn="l" defTabSz="91376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481" indent="-228440" algn="l" defTabSz="91376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7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80" algn="l" defTabSz="9137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60" algn="l" defTabSz="9137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640" algn="l" defTabSz="9137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520" algn="l" defTabSz="9137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400" algn="l" defTabSz="9137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280" algn="l" defTabSz="9137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161" algn="l" defTabSz="9137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041" algn="l" defTabSz="9137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8225" y="479337"/>
            <a:ext cx="11175586" cy="77559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224" y="1657985"/>
            <a:ext cx="11178038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0" y="-127754"/>
            <a:ext cx="2743200" cy="1538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">
                <a:solidFill>
                  <a:schemeClr val="dk2"/>
                </a:solidFill>
              </a:defRPr>
            </a:lvl1pPr>
          </a:lstStyle>
          <a:p>
            <a:fld id="{9BCC9B7C-6325-C943-870B-84A761BC3ECA}" type="datetime1">
              <a:t>06.06.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66437" y="6269624"/>
            <a:ext cx="4114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11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GB"/>
              <a:t>Presentasjonens eller kapittelets titt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26075" y="6269624"/>
            <a:ext cx="226749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1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2C6A6BCC-FF39-42D9-ACE8-4D7C31198930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6" name="Grafikk 15">
            <a:extLst>
              <a:ext uri="{FF2B5EF4-FFF2-40B4-BE49-F238E27FC236}">
                <a16:creationId xmlns:a16="http://schemas.microsoft.com/office/drawing/2014/main" id="{0EAC6C73-B4DF-4FEB-8973-D7236D2768E7}"/>
              </a:ext>
            </a:extLst>
          </p:cNvPr>
          <p:cNvPicPr>
            <a:picLocks noChangeAspect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11682247" y="6096768"/>
            <a:ext cx="509753" cy="509588"/>
          </a:xfrm>
          <a:prstGeom prst="rect">
            <a:avLst/>
          </a:prstGeom>
        </p:spPr>
      </p:pic>
      <p:cxnSp>
        <p:nvCxnSpPr>
          <p:cNvPr id="8" name="Rett linje 7">
            <a:extLst>
              <a:ext uri="{FF2B5EF4-FFF2-40B4-BE49-F238E27FC236}">
                <a16:creationId xmlns:a16="http://schemas.microsoft.com/office/drawing/2014/main" id="{B54C5998-017C-49F3-BC1E-F9B340CB2B20}"/>
              </a:ext>
            </a:extLst>
          </p:cNvPr>
          <p:cNvCxnSpPr/>
          <p:nvPr/>
        </p:nvCxnSpPr>
        <p:spPr>
          <a:xfrm>
            <a:off x="11326075" y="6230128"/>
            <a:ext cx="0" cy="241200"/>
          </a:xfrm>
          <a:prstGeom prst="line">
            <a:avLst/>
          </a:prstGeom>
          <a:ln w="12700">
            <a:solidFill>
              <a:schemeClr val="l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798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  <p:sldLayoutId id="2147483712" r:id="rId16"/>
    <p:sldLayoutId id="2147483713" r:id="rId17"/>
    <p:sldLayoutId id="2147483714" r:id="rId18"/>
    <p:sldLayoutId id="2147483715" r:id="rId19"/>
    <p:sldLayoutId id="2147483716" r:id="rId20"/>
    <p:sldLayoutId id="2147483717" r:id="rId21"/>
    <p:sldLayoutId id="2147483718" r:id="rId22"/>
    <p:sldLayoutId id="2147483719" r:id="rId23"/>
    <p:sldLayoutId id="2147483720" r:id="rId24"/>
    <p:sldLayoutId id="2147483721" r:id="rId25"/>
    <p:sldLayoutId id="2147483722" r:id="rId26"/>
    <p:sldLayoutId id="2147483723" r:id="rId27"/>
    <p:sldLayoutId id="2147483724" r:id="rId28"/>
    <p:sldLayoutId id="2147483725" r:id="rId29"/>
    <p:sldLayoutId id="2147483726" r:id="rId30"/>
    <p:sldLayoutId id="2147483727" r:id="rId31"/>
    <p:sldLayoutId id="2147483728" r:id="rId32"/>
    <p:sldLayoutId id="2147483729" r:id="rId33"/>
    <p:sldLayoutId id="2147483730" r:id="rId34"/>
    <p:sldLayoutId id="2147483731" r:id="rId35"/>
    <p:sldLayoutId id="2147483732" r:id="rId36"/>
    <p:sldLayoutId id="2147483733" r:id="rId37"/>
    <p:sldLayoutId id="2147483734" r:id="rId38"/>
    <p:sldLayoutId id="2147483735" r:id="rId39"/>
    <p:sldLayoutId id="2147483736" r:id="rId40"/>
    <p:sldLayoutId id="2147483737" r:id="rId41"/>
    <p:sldLayoutId id="2147483738" r:id="rId42"/>
    <p:sldLayoutId id="2147483739" r:id="rId43"/>
    <p:sldLayoutId id="2147483740" r:id="rId44"/>
    <p:sldLayoutId id="2147483741" r:id="rId45"/>
    <p:sldLayoutId id="2147483742" r:id="rId46"/>
    <p:sldLayoutId id="2147483743" r:id="rId47"/>
    <p:sldLayoutId id="2147483744" r:id="rId48"/>
    <p:sldLayoutId id="2147483745" r:id="rId49"/>
    <p:sldLayoutId id="2147483746" r:id="rId50"/>
  </p:sldLayoutIdLst>
  <p:hf hdr="0" ftr="0" dt="0"/>
  <p:txStyles>
    <p:titleStyle>
      <a:lvl1pPr algn="l" defTabSz="91408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228520" indent="-228520" algn="l" defTabSz="914080" rtl="0" eaLnBrk="1" latinLnBrk="0" hangingPunct="1">
        <a:lnSpc>
          <a:spcPct val="100000"/>
        </a:lnSpc>
        <a:spcBef>
          <a:spcPts val="0"/>
        </a:spcBef>
        <a:buClr>
          <a:schemeClr val="bg2">
            <a:lumMod val="75000"/>
          </a:schemeClr>
        </a:buClr>
        <a:buFont typeface="Arial" panose="020B0604020202020204" pitchFamily="34" charset="0"/>
        <a:buChar char="•"/>
        <a:defRPr sz="1800" kern="1200">
          <a:solidFill>
            <a:schemeClr val="dk2"/>
          </a:solidFill>
          <a:latin typeface="+mn-lt"/>
          <a:ea typeface="+mn-ea"/>
          <a:cs typeface="+mn-cs"/>
        </a:defRPr>
      </a:lvl1pPr>
      <a:lvl2pPr marL="685560" indent="-228520" algn="l" defTabSz="914080" rtl="0" eaLnBrk="1" latinLnBrk="0" hangingPunct="1">
        <a:lnSpc>
          <a:spcPct val="100000"/>
        </a:lnSpc>
        <a:spcBef>
          <a:spcPts val="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dk2"/>
          </a:solidFill>
          <a:latin typeface="+mn-lt"/>
          <a:ea typeface="+mn-ea"/>
          <a:cs typeface="+mn-cs"/>
        </a:defRPr>
      </a:lvl2pPr>
      <a:lvl3pPr marL="1142600" indent="-228520" algn="l" defTabSz="914080" rtl="0" eaLnBrk="1" latinLnBrk="0" hangingPunct="1">
        <a:lnSpc>
          <a:spcPct val="100000"/>
        </a:lnSpc>
        <a:spcBef>
          <a:spcPts val="0"/>
        </a:spcBef>
        <a:buClr>
          <a:schemeClr val="bg2"/>
        </a:buClr>
        <a:buFont typeface="Arial" panose="020B0604020202020204" pitchFamily="34" charset="0"/>
        <a:buChar char="•"/>
        <a:defRPr sz="1400" kern="1200">
          <a:solidFill>
            <a:schemeClr val="dk2"/>
          </a:solidFill>
          <a:latin typeface="+mn-lt"/>
          <a:ea typeface="+mn-ea"/>
          <a:cs typeface="+mn-cs"/>
        </a:defRPr>
      </a:lvl3pPr>
      <a:lvl4pPr marL="1599640" indent="-228520" algn="l" defTabSz="914080" rtl="0" eaLnBrk="1" latinLnBrk="0" hangingPunct="1">
        <a:lnSpc>
          <a:spcPct val="100000"/>
        </a:lnSpc>
        <a:spcBef>
          <a:spcPts val="0"/>
        </a:spcBef>
        <a:buClr>
          <a:schemeClr val="bg2"/>
        </a:buClr>
        <a:buFont typeface="Arial" panose="020B0604020202020204" pitchFamily="34" charset="0"/>
        <a:buChar char="•"/>
        <a:defRPr sz="1400" kern="1200">
          <a:solidFill>
            <a:schemeClr val="dk2"/>
          </a:solidFill>
          <a:latin typeface="+mn-lt"/>
          <a:ea typeface="+mn-ea"/>
          <a:cs typeface="+mn-cs"/>
        </a:defRPr>
      </a:lvl4pPr>
      <a:lvl5pPr marL="2056680" indent="-228520" algn="l" defTabSz="914080" rtl="0" eaLnBrk="1" latinLnBrk="0" hangingPunct="1">
        <a:lnSpc>
          <a:spcPct val="100000"/>
        </a:lnSpc>
        <a:spcBef>
          <a:spcPts val="0"/>
        </a:spcBef>
        <a:buClr>
          <a:schemeClr val="bg2"/>
        </a:buClr>
        <a:buFont typeface="Arial" panose="020B0604020202020204" pitchFamily="34" charset="0"/>
        <a:buChar char="•"/>
        <a:defRPr sz="1400" kern="1200">
          <a:solidFill>
            <a:schemeClr val="dk2"/>
          </a:solidFill>
          <a:latin typeface="+mn-lt"/>
          <a:ea typeface="+mn-ea"/>
          <a:cs typeface="+mn-cs"/>
        </a:defRPr>
      </a:lvl5pPr>
      <a:lvl6pPr marL="2513720" indent="-228520" algn="l" defTabSz="91408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60" indent="-228520" algn="l" defTabSz="91408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00" indent="-228520" algn="l" defTabSz="91408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840" indent="-228520" algn="l" defTabSz="91408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40" algn="l" defTabSz="9140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80" algn="l" defTabSz="9140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20" algn="l" defTabSz="9140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0" algn="l" defTabSz="9140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00" algn="l" defTabSz="9140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240" algn="l" defTabSz="9140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280" algn="l" defTabSz="9140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20" algn="l" defTabSz="9140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27.emf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1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19.sv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6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3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B8F3183-31CB-FC1B-A4E1-6EDEC405786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1172968"/>
          </a:xfrm>
        </p:spPr>
        <p:txBody>
          <a:bodyPr/>
          <a:lstStyle/>
          <a:p>
            <a:r>
              <a:rPr lang="nb-NO" dirty="0">
                <a:solidFill>
                  <a:schemeClr val="bg1"/>
                </a:solidFill>
              </a:rPr>
              <a:t>Verdien av RDS</a:t>
            </a:r>
          </a:p>
        </p:txBody>
      </p:sp>
      <p:pic>
        <p:nvPicPr>
          <p:cNvPr id="5130" name="Picture 10" descr="Editor (2048px)">
            <a:extLst>
              <a:ext uri="{FF2B5EF4-FFF2-40B4-BE49-F238E27FC236}">
                <a16:creationId xmlns:a16="http://schemas.microsoft.com/office/drawing/2014/main" id="{F9800EE4-5CD4-0FAA-687C-16032F4A89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ktangel 3">
            <a:extLst>
              <a:ext uri="{FF2B5EF4-FFF2-40B4-BE49-F238E27FC236}">
                <a16:creationId xmlns:a16="http://schemas.microsoft.com/office/drawing/2014/main" id="{CFF98F4D-24F5-AD5A-C044-B0101F8CA45F}"/>
              </a:ext>
            </a:extLst>
          </p:cNvPr>
          <p:cNvSpPr/>
          <p:nvPr/>
        </p:nvSpPr>
        <p:spPr>
          <a:xfrm>
            <a:off x="-1746735" y="3921442"/>
            <a:ext cx="8386618" cy="144655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nb-NO" sz="8800" b="1" cap="none" spc="0" dirty="0">
                <a:ln w="0"/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bg1"/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  <a:latin typeface="+mj-lt"/>
              </a:rPr>
              <a:t>RDS</a:t>
            </a:r>
          </a:p>
        </p:txBody>
      </p:sp>
    </p:spTree>
    <p:extLst>
      <p:ext uri="{BB962C8B-B14F-4D97-AF65-F5344CB8AC3E}">
        <p14:creationId xmlns:p14="http://schemas.microsoft.com/office/powerpoint/2010/main" val="29634332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76F4D3-EF5D-1746-2E9A-64D880D38D8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239658" y="386673"/>
            <a:ext cx="6441298" cy="735856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nb-NO" sz="2400" dirty="0"/>
              <a:t>Relasjoner</a:t>
            </a:r>
            <a:endParaRPr lang="nb-NO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2E4C5DD-7D2C-2940-9CF5-0143EA706A3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39657" y="1251178"/>
            <a:ext cx="6441298" cy="1593623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nb-NO" sz="1600" dirty="0"/>
              <a:t>Hvordan henger ting sammen..?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nb-NO" sz="1600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nb-NO" sz="1600" dirty="0"/>
              <a:t>Reguleringssystemet</a:t>
            </a:r>
          </a:p>
          <a:p>
            <a:pPr lvl="1">
              <a:lnSpc>
                <a:spcPct val="90000"/>
              </a:lnSpc>
              <a:spcAft>
                <a:spcPts val="600"/>
              </a:spcAft>
            </a:pPr>
            <a:r>
              <a:rPr lang="nb-NO" dirty="0"/>
              <a:t>Vann renner fra et sted til et annet, påvirkning i hele vannkjeden</a:t>
            </a:r>
          </a:p>
          <a:p>
            <a:pPr lvl="1">
              <a:lnSpc>
                <a:spcPct val="90000"/>
              </a:lnSpc>
              <a:spcAft>
                <a:spcPts val="600"/>
              </a:spcAft>
            </a:pPr>
            <a:r>
              <a:rPr lang="nb-NO" dirty="0"/>
              <a:t>Hvordan maskinelt ta ut «logikken»?</a:t>
            </a:r>
          </a:p>
          <a:p>
            <a:pPr lvl="1">
              <a:lnSpc>
                <a:spcPct val="90000"/>
              </a:lnSpc>
              <a:spcAft>
                <a:spcPts val="600"/>
              </a:spcAft>
            </a:pPr>
            <a:endParaRPr lang="nb-NO" dirty="0"/>
          </a:p>
          <a:p>
            <a:pPr lvl="1">
              <a:lnSpc>
                <a:spcPct val="90000"/>
              </a:lnSpc>
              <a:spcAft>
                <a:spcPts val="600"/>
              </a:spcAft>
            </a:pPr>
            <a:endParaRPr lang="nb-NO" dirty="0"/>
          </a:p>
          <a:p>
            <a:pPr marL="457040" lvl="1" indent="0">
              <a:lnSpc>
                <a:spcPct val="90000"/>
              </a:lnSpc>
              <a:spcAft>
                <a:spcPts val="600"/>
              </a:spcAft>
              <a:buNone/>
            </a:pPr>
            <a:endParaRPr lang="nb-NO" dirty="0"/>
          </a:p>
          <a:p>
            <a:pPr marL="457040" lvl="1" indent="0">
              <a:lnSpc>
                <a:spcPct val="90000"/>
              </a:lnSpc>
              <a:spcAft>
                <a:spcPts val="600"/>
              </a:spcAft>
              <a:buNone/>
            </a:pPr>
            <a:endParaRPr lang="nb-NO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DC04128-9D17-D434-99F8-953EF23AB0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19092" y="3429000"/>
            <a:ext cx="5261863" cy="3177356"/>
          </a:xfrm>
          <a:prstGeom prst="rect">
            <a:avLst/>
          </a:prstGeom>
          <a:noFill/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71424D0-10D0-0372-5F73-38AC9144AD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26075" y="6269624"/>
            <a:ext cx="226749" cy="169277"/>
          </a:xfrm>
        </p:spPr>
        <p:txBody>
          <a:bodyPr wrap="square" anchor="ctr">
            <a:normAutofit/>
          </a:bodyPr>
          <a:lstStyle/>
          <a:p>
            <a:pPr marL="0" marR="0" lvl="0" indent="0" defTabSz="228646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2C6A6BCC-FF39-42D9-ACE8-4D7C31198930}" type="slidenum">
              <a:rPr kumimoji="0" lang="en-GB" b="0" i="0" u="none" strike="noStrike" kern="1200" cap="none" spc="0" normalizeH="0" baseline="0" noProof="0" smtClean="0">
                <a:ln>
                  <a:noFill/>
                </a:ln>
                <a:solidFill>
                  <a:srgbClr val="FAFDFA"/>
                </a:solidFill>
                <a:effectLst/>
                <a:uLnTx/>
                <a:uFillTx/>
              </a:rPr>
              <a:pPr marL="0" marR="0" lvl="0" indent="0" defTabSz="228646" rtl="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b="0" i="0" u="none" strike="noStrike" kern="1200" cap="none" spc="0" normalizeH="0" baseline="0" noProof="0">
              <a:ln>
                <a:noFill/>
              </a:ln>
              <a:solidFill>
                <a:srgbClr val="FAFDFA"/>
              </a:solidFill>
              <a:effectLst/>
              <a:uLnTx/>
              <a:uFillTx/>
            </a:endParaRP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CF93A0B9-4DEA-3598-E42B-A6AA84EB5F8A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1682247" y="6096768"/>
            <a:ext cx="509753" cy="509588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19E9404A-79CC-C694-D675-60F32373DFA6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1320411" y="6230098"/>
            <a:ext cx="12606" cy="241230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F2A5EF87-E0C6-6E43-4B7A-6E21EBE9F29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818934" y="4686864"/>
            <a:ext cx="2316931" cy="1593623"/>
          </a:xfrm>
        </p:spPr>
        <p:txBody>
          <a:bodyPr>
            <a:normAutofit fontScale="92500"/>
          </a:bodyPr>
          <a:lstStyle/>
          <a:p>
            <a:pPr marL="342900" indent="-342900" algn="l">
              <a:buFont typeface="+mj-lt"/>
              <a:buAutoNum type="arabicPeriod"/>
            </a:pPr>
            <a:r>
              <a:rPr lang="en-US" dirty="0"/>
              <a:t>=E1.QB1|DB|=E2.JB2</a:t>
            </a:r>
          </a:p>
          <a:p>
            <a:pPr marL="342900" indent="-342900" algn="l">
              <a:buFont typeface="+mj-lt"/>
              <a:buAutoNum type="arabicPeriod"/>
            </a:pPr>
            <a:r>
              <a:rPr lang="en-US" dirty="0"/>
              <a:t>=E1.HB1|DB|=E2.JB1</a:t>
            </a:r>
          </a:p>
          <a:p>
            <a:pPr marL="342900" indent="-342900" algn="l">
              <a:buFont typeface="+mj-lt"/>
              <a:buAutoNum type="arabicPeriod"/>
            </a:pPr>
            <a:r>
              <a:rPr lang="en-US" dirty="0"/>
              <a:t>=E2.JB1|DB|=E2.JB2</a:t>
            </a:r>
          </a:p>
          <a:p>
            <a:pPr marL="342900" indent="-342900" algn="l">
              <a:buFont typeface="+mj-lt"/>
              <a:buAutoNum type="arabicPeriod"/>
            </a:pPr>
            <a:r>
              <a:rPr lang="en-US" dirty="0"/>
              <a:t>=E2.JB2|DB|=E2.QB1</a:t>
            </a:r>
          </a:p>
          <a:p>
            <a:pPr algn="l"/>
            <a:endParaRPr lang="en-US" dirty="0"/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F86D36A3-387E-1092-28D1-9D1E5C2D33DF}"/>
              </a:ext>
            </a:extLst>
          </p:cNvPr>
          <p:cNvSpPr txBox="1">
            <a:spLocks/>
          </p:cNvSpPr>
          <p:nvPr/>
        </p:nvSpPr>
        <p:spPr>
          <a:xfrm>
            <a:off x="2634127" y="6182616"/>
            <a:ext cx="6441298" cy="57742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376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>
                  <a:lumMod val="75000"/>
                </a:schemeClr>
              </a:buClr>
              <a:buFont typeface="Arial" panose="020B0604020202020204" pitchFamily="34" charset="0"/>
              <a:buNone/>
              <a:defRPr sz="1800" kern="1200">
                <a:solidFill>
                  <a:schemeClr val="dk2"/>
                </a:solidFill>
                <a:latin typeface="+mn-lt"/>
                <a:ea typeface="+mn-ea"/>
                <a:cs typeface="+mn-cs"/>
              </a:defRPr>
            </a:lvl1pPr>
            <a:lvl2pPr marL="457040" indent="0" algn="l" defTabSz="91376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1600" kern="1200">
                <a:solidFill>
                  <a:schemeClr val="dk2"/>
                </a:solidFill>
                <a:latin typeface="+mn-lt"/>
                <a:ea typeface="+mn-ea"/>
                <a:cs typeface="+mn-cs"/>
              </a:defRPr>
            </a:lvl2pPr>
            <a:lvl3pPr marL="914080" indent="0" algn="l" defTabSz="91376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1400" kern="1200">
                <a:solidFill>
                  <a:schemeClr val="dk2"/>
                </a:solidFill>
                <a:latin typeface="+mn-lt"/>
                <a:ea typeface="+mn-ea"/>
                <a:cs typeface="+mn-cs"/>
              </a:defRPr>
            </a:lvl3pPr>
            <a:lvl4pPr marL="1371120" indent="0" algn="l" defTabSz="91376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1400" kern="1200">
                <a:solidFill>
                  <a:schemeClr val="dk2"/>
                </a:solidFill>
                <a:latin typeface="+mn-lt"/>
                <a:ea typeface="+mn-ea"/>
                <a:cs typeface="+mn-cs"/>
              </a:defRPr>
            </a:lvl4pPr>
            <a:lvl5pPr marL="1828160" indent="0" algn="l" defTabSz="91376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1400" kern="1200">
                <a:solidFill>
                  <a:schemeClr val="dk2"/>
                </a:solidFill>
                <a:latin typeface="+mn-lt"/>
                <a:ea typeface="+mn-ea"/>
                <a:cs typeface="+mn-cs"/>
              </a:defRPr>
            </a:lvl5pPr>
            <a:lvl6pPr marL="2512840" indent="-228440" algn="l" defTabSz="91376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9720" indent="-228440" algn="l" defTabSz="91376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601" indent="-228440" algn="l" defTabSz="91376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481" indent="-228440" algn="l" defTabSz="91376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nb-NO" sz="1600" dirty="0"/>
              <a:t>Mellom stasjoner - =H2.JB1|DB|&lt;EF-1-1-PS1-1&gt;=E1.QB1</a:t>
            </a:r>
            <a:endParaRPr lang="nb-NO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A46CA8-3E6F-9461-8421-D4C7E3CFEF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2319" y="594681"/>
            <a:ext cx="2750483" cy="4092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19415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678A5B61-305B-903A-2A96-7D7CB620FF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71311" y="204337"/>
            <a:ext cx="6649378" cy="6449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24770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DEE53E-14AB-001A-9B13-BB5408284E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02920"/>
            <a:ext cx="10972800" cy="557784"/>
          </a:xfrm>
        </p:spPr>
        <p:txBody>
          <a:bodyPr vert="horz" wrap="square" lIns="0" tIns="0" rIns="0" bIns="0" rtlCol="0" anchor="t">
            <a:normAutofit/>
          </a:bodyPr>
          <a:lstStyle/>
          <a:p>
            <a:r>
              <a:rPr lang="nb-NO" sz="2799" dirty="0">
                <a:solidFill>
                  <a:schemeClr val="dk2"/>
                </a:solidFill>
              </a:rPr>
              <a:t>Funksjon og produktaspek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43D8BD-C436-9006-14F6-6C3D3D01AE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/>
              <a:t>Funksjon</a:t>
            </a:r>
          </a:p>
          <a:p>
            <a:pPr lvl="1"/>
            <a:r>
              <a:rPr lang="nb-NO" dirty="0"/>
              <a:t>Skal vise hvilke funksjoner som bidrar til produksjon av strøm</a:t>
            </a:r>
          </a:p>
          <a:p>
            <a:pPr lvl="1"/>
            <a:r>
              <a:rPr lang="nb-NO" dirty="0"/>
              <a:t>Vil være førende for relasjoner mellom funksjoner i komponenter</a:t>
            </a:r>
          </a:p>
          <a:p>
            <a:pPr lvl="1"/>
            <a:r>
              <a:rPr lang="nb-NO" dirty="0"/>
              <a:t>Vil brukes til:</a:t>
            </a:r>
          </a:p>
          <a:p>
            <a:pPr lvl="2"/>
            <a:r>
              <a:rPr lang="nb-NO" dirty="0"/>
              <a:t>Tidsserier</a:t>
            </a:r>
          </a:p>
          <a:p>
            <a:pPr lvl="2"/>
            <a:r>
              <a:rPr lang="nb-NO" dirty="0"/>
              <a:t>Kritikalitet</a:t>
            </a:r>
          </a:p>
          <a:p>
            <a:pPr lvl="1"/>
            <a:endParaRPr lang="nb-NO" dirty="0"/>
          </a:p>
          <a:p>
            <a:r>
              <a:rPr lang="nb-NO" dirty="0"/>
              <a:t>Produkt</a:t>
            </a:r>
          </a:p>
          <a:p>
            <a:pPr lvl="1"/>
            <a:r>
              <a:rPr lang="nb-NO" dirty="0"/>
              <a:t>De fysiske komponenter og ens oppbygning – alle komponenter som må følges opp</a:t>
            </a:r>
          </a:p>
          <a:p>
            <a:pPr lvl="1"/>
            <a:r>
              <a:rPr lang="nb-NO" dirty="0"/>
              <a:t>Tenker på hvordan man bestiller ett system som oppfyller en eller flere funksjoner</a:t>
            </a:r>
          </a:p>
          <a:p>
            <a:pPr lvl="1"/>
            <a:r>
              <a:rPr lang="nb-NO" dirty="0"/>
              <a:t>Vil brukes til:</a:t>
            </a:r>
          </a:p>
          <a:p>
            <a:pPr lvl="2"/>
            <a:r>
              <a:rPr lang="nb-NO" dirty="0"/>
              <a:t>Vedlikeholdssystem (FDV)</a:t>
            </a:r>
          </a:p>
          <a:p>
            <a:pPr lvl="2"/>
            <a:r>
              <a:rPr lang="nb-NO" dirty="0"/>
              <a:t>Tilstandsoversikt på gitt komponent</a:t>
            </a:r>
          </a:p>
          <a:p>
            <a:pPr lvl="2"/>
            <a:r>
              <a:rPr lang="nb-NO" dirty="0"/>
              <a:t>Dokumentasjon</a:t>
            </a:r>
          </a:p>
          <a:p>
            <a:pPr lvl="2"/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01716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F766BF-2236-C1F7-E96F-5A8F7B33D0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9263" y="479337"/>
            <a:ext cx="10714547" cy="775597"/>
          </a:xfrm>
        </p:spPr>
        <p:txBody>
          <a:bodyPr wrap="square" anchor="t">
            <a:normAutofit/>
          </a:bodyPr>
          <a:lstStyle/>
          <a:p>
            <a:r>
              <a:rPr lang="nb-NO" dirty="0"/>
              <a:t>Produktaspektet                                               Funksjonsaspekte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3A8243A-18A4-2A8E-90E0-DFCC86D11B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26075" y="6269624"/>
            <a:ext cx="226749" cy="169277"/>
          </a:xfrm>
        </p:spPr>
        <p:txBody>
          <a:bodyPr wrap="square" anchor="ctr">
            <a:normAutofit/>
          </a:bodyPr>
          <a:lstStyle/>
          <a:p>
            <a:pPr marL="0" marR="0" lvl="0" indent="0" defTabSz="228646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2C6A6BCC-FF39-42D9-ACE8-4D7C31198930}" type="slidenum">
              <a:rPr kumimoji="0" lang="en-GB" b="0" i="0" u="none" strike="noStrike" kern="1200" cap="none" spc="0" normalizeH="0" baseline="0" noProof="0" smtClean="0">
                <a:ln>
                  <a:noFill/>
                </a:ln>
                <a:solidFill>
                  <a:srgbClr val="76E691">
                    <a:lumMod val="75000"/>
                  </a:srgbClr>
                </a:solidFill>
                <a:effectLst/>
                <a:uLnTx/>
                <a:uFillTx/>
              </a:rPr>
              <a:pPr marL="0" marR="0" lvl="0" indent="0" defTabSz="228646" rtl="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b="0" i="0" u="none" strike="noStrike" kern="1200" cap="none" spc="0" normalizeH="0" baseline="0" noProof="0">
              <a:ln>
                <a:noFill/>
              </a:ln>
              <a:solidFill>
                <a:srgbClr val="76E691">
                  <a:lumMod val="75000"/>
                </a:srgbClr>
              </a:solidFill>
              <a:effectLst/>
              <a:uLnTx/>
              <a:uFillTx/>
            </a:endParaRPr>
          </a:p>
        </p:txBody>
      </p:sp>
      <p:pic>
        <p:nvPicPr>
          <p:cNvPr id="1029" name="Picture 5">
            <a:extLst>
              <a:ext uri="{FF2B5EF4-FFF2-40B4-BE49-F238E27FC236}">
                <a16:creationId xmlns:a16="http://schemas.microsoft.com/office/drawing/2014/main" id="{182AC5B5-90ED-1A81-AA51-167CC8CF2B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640" y="1332576"/>
            <a:ext cx="4263817" cy="5106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9A2E9AE2-35D4-D92D-5723-983F5E2051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963" y="965070"/>
            <a:ext cx="3820388" cy="5594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D47BE871-426A-0FCA-6867-C3CDBFAE638E}"/>
              </a:ext>
            </a:extLst>
          </p:cNvPr>
          <p:cNvCxnSpPr/>
          <p:nvPr/>
        </p:nvCxnSpPr>
        <p:spPr>
          <a:xfrm>
            <a:off x="3986784" y="658368"/>
            <a:ext cx="3538728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FE25FABA-9744-EBB1-7154-74E0CC4C29DE}"/>
              </a:ext>
            </a:extLst>
          </p:cNvPr>
          <p:cNvSpPr/>
          <p:nvPr/>
        </p:nvSpPr>
        <p:spPr>
          <a:xfrm>
            <a:off x="4165600" y="2404872"/>
            <a:ext cx="5051552" cy="1644075"/>
          </a:xfrm>
          <a:custGeom>
            <a:avLst/>
            <a:gdLst>
              <a:gd name="connsiteX0" fmla="*/ 0 w 4709160"/>
              <a:gd name="connsiteY0" fmla="*/ 1755648 h 1755648"/>
              <a:gd name="connsiteX1" fmla="*/ 886968 w 4709160"/>
              <a:gd name="connsiteY1" fmla="*/ 859536 h 1755648"/>
              <a:gd name="connsiteX2" fmla="*/ 2624328 w 4709160"/>
              <a:gd name="connsiteY2" fmla="*/ 173736 h 1755648"/>
              <a:gd name="connsiteX3" fmla="*/ 4709160 w 4709160"/>
              <a:gd name="connsiteY3" fmla="*/ 0 h 1755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09160" h="1755648">
                <a:moveTo>
                  <a:pt x="0" y="1755648"/>
                </a:moveTo>
                <a:cubicBezTo>
                  <a:pt x="224790" y="1439418"/>
                  <a:pt x="449580" y="1123188"/>
                  <a:pt x="886968" y="859536"/>
                </a:cubicBezTo>
                <a:cubicBezTo>
                  <a:pt x="1324356" y="595884"/>
                  <a:pt x="1987296" y="316992"/>
                  <a:pt x="2624328" y="173736"/>
                </a:cubicBezTo>
                <a:cubicBezTo>
                  <a:pt x="3261360" y="30480"/>
                  <a:pt x="3985260" y="15240"/>
                  <a:pt x="4709160" y="0"/>
                </a:cubicBezTo>
              </a:path>
            </a:pathLst>
          </a:custGeom>
          <a:noFill/>
          <a:ln>
            <a:headEnd type="triangle"/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16BF5F06-CB80-50CE-23F3-764723A98576}"/>
              </a:ext>
            </a:extLst>
          </p:cNvPr>
          <p:cNvSpPr/>
          <p:nvPr/>
        </p:nvSpPr>
        <p:spPr>
          <a:xfrm>
            <a:off x="4396509" y="2697018"/>
            <a:ext cx="4820643" cy="1644074"/>
          </a:xfrm>
          <a:custGeom>
            <a:avLst/>
            <a:gdLst>
              <a:gd name="connsiteX0" fmla="*/ 0 w 4709160"/>
              <a:gd name="connsiteY0" fmla="*/ 1755648 h 1755648"/>
              <a:gd name="connsiteX1" fmla="*/ 886968 w 4709160"/>
              <a:gd name="connsiteY1" fmla="*/ 859536 h 1755648"/>
              <a:gd name="connsiteX2" fmla="*/ 2624328 w 4709160"/>
              <a:gd name="connsiteY2" fmla="*/ 173736 h 1755648"/>
              <a:gd name="connsiteX3" fmla="*/ 4709160 w 4709160"/>
              <a:gd name="connsiteY3" fmla="*/ 0 h 1755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09160" h="1755648">
                <a:moveTo>
                  <a:pt x="0" y="1755648"/>
                </a:moveTo>
                <a:cubicBezTo>
                  <a:pt x="224790" y="1439418"/>
                  <a:pt x="449580" y="1123188"/>
                  <a:pt x="886968" y="859536"/>
                </a:cubicBezTo>
                <a:cubicBezTo>
                  <a:pt x="1324356" y="595884"/>
                  <a:pt x="1987296" y="316992"/>
                  <a:pt x="2624328" y="173736"/>
                </a:cubicBezTo>
                <a:cubicBezTo>
                  <a:pt x="3261360" y="30480"/>
                  <a:pt x="3985260" y="15240"/>
                  <a:pt x="4709160" y="0"/>
                </a:cubicBezTo>
              </a:path>
            </a:pathLst>
          </a:custGeom>
          <a:noFill/>
          <a:ln>
            <a:headEnd type="triangle"/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044BD31-7C5F-7990-C053-130924763339}"/>
              </a:ext>
            </a:extLst>
          </p:cNvPr>
          <p:cNvSpPr/>
          <p:nvPr/>
        </p:nvSpPr>
        <p:spPr>
          <a:xfrm>
            <a:off x="4313382" y="3722255"/>
            <a:ext cx="5015345" cy="1579418"/>
          </a:xfrm>
          <a:custGeom>
            <a:avLst/>
            <a:gdLst>
              <a:gd name="connsiteX0" fmla="*/ 0 w 5015345"/>
              <a:gd name="connsiteY0" fmla="*/ 1579418 h 1579418"/>
              <a:gd name="connsiteX1" fmla="*/ 1690254 w 5015345"/>
              <a:gd name="connsiteY1" fmla="*/ 1302327 h 1579418"/>
              <a:gd name="connsiteX2" fmla="*/ 2318327 w 5015345"/>
              <a:gd name="connsiteY2" fmla="*/ 1173018 h 1579418"/>
              <a:gd name="connsiteX3" fmla="*/ 4008582 w 5015345"/>
              <a:gd name="connsiteY3" fmla="*/ 674254 h 1579418"/>
              <a:gd name="connsiteX4" fmla="*/ 5015345 w 5015345"/>
              <a:gd name="connsiteY4" fmla="*/ 0 h 1579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15345" h="1579418">
                <a:moveTo>
                  <a:pt x="0" y="1579418"/>
                </a:moveTo>
                <a:lnTo>
                  <a:pt x="1690254" y="1302327"/>
                </a:lnTo>
                <a:cubicBezTo>
                  <a:pt x="2076642" y="1234594"/>
                  <a:pt x="1931939" y="1277697"/>
                  <a:pt x="2318327" y="1173018"/>
                </a:cubicBezTo>
                <a:cubicBezTo>
                  <a:pt x="2704715" y="1068339"/>
                  <a:pt x="3559079" y="869757"/>
                  <a:pt x="4008582" y="674254"/>
                </a:cubicBezTo>
                <a:cubicBezTo>
                  <a:pt x="4458085" y="478751"/>
                  <a:pt x="4855248" y="101600"/>
                  <a:pt x="5015345" y="0"/>
                </a:cubicBezTo>
              </a:path>
            </a:pathLst>
          </a:custGeom>
          <a:noFill/>
          <a:ln>
            <a:headEnd type="triangle"/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D914CE51-3174-14AA-F1B2-A799A176A73C}"/>
              </a:ext>
            </a:extLst>
          </p:cNvPr>
          <p:cNvSpPr/>
          <p:nvPr/>
        </p:nvSpPr>
        <p:spPr>
          <a:xfrm>
            <a:off x="2844800" y="1811566"/>
            <a:ext cx="6253018" cy="1153307"/>
          </a:xfrm>
          <a:custGeom>
            <a:avLst/>
            <a:gdLst>
              <a:gd name="connsiteX0" fmla="*/ 6253018 w 6253018"/>
              <a:gd name="connsiteY0" fmla="*/ 1153307 h 1153307"/>
              <a:gd name="connsiteX1" fmla="*/ 6105236 w 6253018"/>
              <a:gd name="connsiteY1" fmla="*/ 1153307 h 1153307"/>
              <a:gd name="connsiteX2" fmla="*/ 4119418 w 6253018"/>
              <a:gd name="connsiteY2" fmla="*/ 1107125 h 1153307"/>
              <a:gd name="connsiteX3" fmla="*/ 2558473 w 6253018"/>
              <a:gd name="connsiteY3" fmla="*/ 719198 h 1153307"/>
              <a:gd name="connsiteX4" fmla="*/ 1376218 w 6253018"/>
              <a:gd name="connsiteY4" fmla="*/ 63416 h 1153307"/>
              <a:gd name="connsiteX5" fmla="*/ 0 w 6253018"/>
              <a:gd name="connsiteY5" fmla="*/ 17234 h 11533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253018" h="1153307">
                <a:moveTo>
                  <a:pt x="6253018" y="1153307"/>
                </a:moveTo>
                <a:lnTo>
                  <a:pt x="6105236" y="1153307"/>
                </a:lnTo>
                <a:lnTo>
                  <a:pt x="4119418" y="1107125"/>
                </a:lnTo>
                <a:cubicBezTo>
                  <a:pt x="3528291" y="1034774"/>
                  <a:pt x="3015673" y="893149"/>
                  <a:pt x="2558473" y="719198"/>
                </a:cubicBezTo>
                <a:cubicBezTo>
                  <a:pt x="2101273" y="545247"/>
                  <a:pt x="1802630" y="180410"/>
                  <a:pt x="1376218" y="63416"/>
                </a:cubicBezTo>
                <a:cubicBezTo>
                  <a:pt x="949806" y="-53578"/>
                  <a:pt x="73891" y="29549"/>
                  <a:pt x="0" y="17234"/>
                </a:cubicBezTo>
              </a:path>
            </a:pathLst>
          </a:custGeom>
          <a:noFill/>
          <a:ln>
            <a:headEnd type="triangle"/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ED21BB4C-91F1-646C-3AC0-2F1B86E753A9}"/>
              </a:ext>
            </a:extLst>
          </p:cNvPr>
          <p:cNvSpPr/>
          <p:nvPr/>
        </p:nvSpPr>
        <p:spPr>
          <a:xfrm>
            <a:off x="4165599" y="3271574"/>
            <a:ext cx="5163127" cy="1457673"/>
          </a:xfrm>
          <a:custGeom>
            <a:avLst/>
            <a:gdLst>
              <a:gd name="connsiteX0" fmla="*/ 0 w 4709160"/>
              <a:gd name="connsiteY0" fmla="*/ 1755648 h 1755648"/>
              <a:gd name="connsiteX1" fmla="*/ 886968 w 4709160"/>
              <a:gd name="connsiteY1" fmla="*/ 859536 h 1755648"/>
              <a:gd name="connsiteX2" fmla="*/ 2624328 w 4709160"/>
              <a:gd name="connsiteY2" fmla="*/ 173736 h 1755648"/>
              <a:gd name="connsiteX3" fmla="*/ 4709160 w 4709160"/>
              <a:gd name="connsiteY3" fmla="*/ 0 h 1755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09160" h="1755648">
                <a:moveTo>
                  <a:pt x="0" y="1755648"/>
                </a:moveTo>
                <a:cubicBezTo>
                  <a:pt x="224790" y="1439418"/>
                  <a:pt x="449580" y="1123188"/>
                  <a:pt x="886968" y="859536"/>
                </a:cubicBezTo>
                <a:cubicBezTo>
                  <a:pt x="1324356" y="595884"/>
                  <a:pt x="1987296" y="316992"/>
                  <a:pt x="2624328" y="173736"/>
                </a:cubicBezTo>
                <a:cubicBezTo>
                  <a:pt x="3261360" y="30480"/>
                  <a:pt x="3985260" y="15240"/>
                  <a:pt x="4709160" y="0"/>
                </a:cubicBezTo>
              </a:path>
            </a:pathLst>
          </a:custGeom>
          <a:noFill/>
          <a:ln>
            <a:headEnd type="triangle"/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8252228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A3E7D7-3D1B-8692-370B-E8442CA123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Bygningsdeler uten bruk av CW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D472D3B-908E-AF94-AD6C-548BD13E21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6981" y="1343660"/>
            <a:ext cx="11178038" cy="4351338"/>
          </a:xfrm>
        </p:spPr>
        <p:txBody>
          <a:bodyPr/>
          <a:lstStyle/>
          <a:p>
            <a:r>
              <a:rPr lang="nb-NO" dirty="0"/>
              <a:t>Eviny har gått bort fra å bruke 81346-12</a:t>
            </a:r>
          </a:p>
          <a:p>
            <a:pPr lvl="1"/>
            <a:r>
              <a:rPr lang="nb-NO" dirty="0"/>
              <a:t>Hovedgrunnen er at vi i stor grad har bygg med ett ventilasjonssystem og lys.</a:t>
            </a:r>
          </a:p>
          <a:p>
            <a:pPr lvl="1"/>
            <a:r>
              <a:rPr lang="nb-NO" dirty="0"/>
              <a:t>Hvis selskapet ønsker å ta i bruk BIM vil man ta en ny vurdering.</a:t>
            </a:r>
          </a:p>
          <a:p>
            <a:pPr lvl="1"/>
            <a:endParaRPr lang="nb-NO" dirty="0"/>
          </a:p>
          <a:p>
            <a:r>
              <a:rPr lang="nb-NO" dirty="0"/>
              <a:t>Man har laget objekter i Funksjon (=) der man har behov for kritikalitet </a:t>
            </a:r>
            <a:br>
              <a:rPr lang="nb-NO" dirty="0"/>
            </a:br>
            <a:r>
              <a:rPr lang="nb-NO" dirty="0"/>
              <a:t>eller målinger</a:t>
            </a:r>
          </a:p>
          <a:p>
            <a:pPr lvl="1"/>
            <a:r>
              <a:rPr lang="nb-NO" dirty="0"/>
              <a:t>F.eks. ventilasjonsanlegget som har begge deler</a:t>
            </a:r>
          </a:p>
          <a:p>
            <a:pPr lvl="1"/>
            <a:endParaRPr lang="nb-NO" dirty="0"/>
          </a:p>
          <a:p>
            <a:r>
              <a:rPr lang="nb-NO" dirty="0"/>
              <a:t>I Produkt (-) har man laget alle funksjoner som trenger oppfølging (FDV)</a:t>
            </a:r>
          </a:p>
          <a:p>
            <a:pPr lvl="1"/>
            <a:r>
              <a:rPr lang="nb-NO" dirty="0"/>
              <a:t>Dette gjelder da fluktmasker, bygninger, belysning, kloakkpumper, osv.</a:t>
            </a:r>
          </a:p>
          <a:p>
            <a:pPr lvl="1"/>
            <a:endParaRPr lang="nb-NO" dirty="0"/>
          </a:p>
          <a:p>
            <a:r>
              <a:rPr lang="nb-NO" dirty="0"/>
              <a:t>Lokasjonsaspektet (++) er også modellert, her vil det gå ned til </a:t>
            </a:r>
            <a:br>
              <a:rPr lang="nb-NO" dirty="0"/>
            </a:br>
            <a:r>
              <a:rPr lang="nb-NO" dirty="0"/>
              <a:t>geografisk lokasjon og ikke bygningsdeler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B4E1AE8-2178-4130-8471-850CCCE066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47361" y="1870258"/>
            <a:ext cx="4326009" cy="3824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6981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397449-216E-656D-24BF-C782186F69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Utarbeidelse av en fullstendig ma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2B36FF-39AC-A208-A7CD-9F91B4862F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/>
              <a:t>Mal skal inneholde de fleste typer oppbygning</a:t>
            </a:r>
          </a:p>
          <a:p>
            <a:pPr lvl="1"/>
            <a:r>
              <a:rPr lang="nb-NO" dirty="0"/>
              <a:t>Horisontal/vertikal, turbintype, magnetiseringstype, osv.</a:t>
            </a:r>
          </a:p>
          <a:p>
            <a:r>
              <a:rPr lang="nb-NO" dirty="0" err="1"/>
              <a:t>Work</a:t>
            </a:r>
            <a:r>
              <a:rPr lang="nb-NO" dirty="0"/>
              <a:t> in progress</a:t>
            </a:r>
          </a:p>
          <a:p>
            <a:pPr lvl="1"/>
            <a:r>
              <a:rPr lang="nb-NO" dirty="0">
                <a:sym typeface="Wingdings" panose="05000000000000000000" pitchFamily="2" charset="2"/>
              </a:rPr>
              <a:t>Vil være småendringer, men lite på struktur</a:t>
            </a:r>
          </a:p>
          <a:p>
            <a:pPr lvl="1"/>
            <a:endParaRPr lang="nb-NO" dirty="0">
              <a:sym typeface="Wingdings" panose="05000000000000000000" pitchFamily="2" charset="2"/>
            </a:endParaRPr>
          </a:p>
          <a:p>
            <a:r>
              <a:rPr lang="nb-NO" dirty="0">
                <a:sym typeface="Wingdings" panose="05000000000000000000" pitchFamily="2" charset="2"/>
              </a:rPr>
              <a:t>Utarbeidet det vi kaller taksonomi/type-bibliotek</a:t>
            </a:r>
          </a:p>
          <a:p>
            <a:pPr lvl="1"/>
            <a:r>
              <a:rPr lang="nb-NO" dirty="0">
                <a:sym typeface="Wingdings" panose="05000000000000000000" pitchFamily="2" charset="2"/>
              </a:rPr>
              <a:t>Basert på standarden</a:t>
            </a:r>
          </a:p>
          <a:p>
            <a:pPr lvl="1"/>
            <a:r>
              <a:rPr lang="nb-NO" dirty="0">
                <a:sym typeface="Wingdings" panose="05000000000000000000" pitchFamily="2" charset="2"/>
              </a:rPr>
              <a:t>Typen %BJA2 er måling av aktiv effekt, BJA er koden for «power </a:t>
            </a:r>
            <a:r>
              <a:rPr lang="nb-NO" dirty="0" err="1">
                <a:sym typeface="Wingdings" panose="05000000000000000000" pitchFamily="2" charset="2"/>
              </a:rPr>
              <a:t>sensing</a:t>
            </a:r>
            <a:r>
              <a:rPr lang="nb-NO" dirty="0">
                <a:sym typeface="Wingdings" panose="05000000000000000000" pitchFamily="2" charset="2"/>
              </a:rPr>
              <a:t> </a:t>
            </a:r>
            <a:r>
              <a:rPr lang="nb-NO" dirty="0" err="1">
                <a:sym typeface="Wingdings" panose="05000000000000000000" pitchFamily="2" charset="2"/>
              </a:rPr>
              <a:t>object</a:t>
            </a:r>
            <a:r>
              <a:rPr lang="nb-NO" dirty="0">
                <a:sym typeface="Wingdings" panose="05000000000000000000" pitchFamily="2" charset="2"/>
              </a:rPr>
              <a:t>». %BJA3 er reaktiv effekt</a:t>
            </a:r>
          </a:p>
          <a:p>
            <a:pPr lvl="1"/>
            <a:r>
              <a:rPr lang="nb-NO" dirty="0">
                <a:sym typeface="Wingdings" panose="05000000000000000000" pitchFamily="2" charset="2"/>
              </a:rPr>
              <a:t>285 typer, varierende hvor mye man trenger. Lager har 4 typer, ventil har 18.</a:t>
            </a:r>
          </a:p>
          <a:p>
            <a:pPr lvl="1"/>
            <a:endParaRPr lang="nb-NO" dirty="0">
              <a:sym typeface="Wingdings" panose="05000000000000000000" pitchFamily="2" charset="2"/>
            </a:endParaRPr>
          </a:p>
          <a:p>
            <a:r>
              <a:rPr lang="nb-NO" dirty="0">
                <a:sym typeface="Wingdings" panose="05000000000000000000" pitchFamily="2" charset="2"/>
              </a:rPr>
              <a:t>Arbeider med </a:t>
            </a:r>
            <a:r>
              <a:rPr lang="nb-NO" dirty="0" err="1">
                <a:sym typeface="Wingdings" panose="05000000000000000000" pitchFamily="2" charset="2"/>
              </a:rPr>
              <a:t>standarisering</a:t>
            </a:r>
            <a:r>
              <a:rPr lang="nb-NO" dirty="0">
                <a:sym typeface="Wingdings" panose="05000000000000000000" pitchFamily="2" charset="2"/>
              </a:rPr>
              <a:t> av navnsetting, en tank er en tank – men her skal vi også ha akkumulator. Ønsker ikke blanding av navn, type og funksjon – f.eks. smøroljetank, det er en tank under smøroljesystemet. Typen vil si at det er en smøroljetank. </a:t>
            </a:r>
          </a:p>
          <a:p>
            <a:pPr lvl="1"/>
            <a:endParaRPr lang="nb-NO" dirty="0"/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866390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7763471-FE4E-85A9-37AF-039FAB7223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4118" y="631065"/>
            <a:ext cx="10823764" cy="525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388023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88F23B-62B8-CA01-AA13-48F6F3EF6A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Veien vid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E71A7E-D238-F434-97E0-79D04D3F09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6981" y="1383665"/>
            <a:ext cx="9368539" cy="4351338"/>
          </a:xfrm>
        </p:spPr>
        <p:txBody>
          <a:bodyPr/>
          <a:lstStyle/>
          <a:p>
            <a:r>
              <a:rPr lang="nb-NO" dirty="0"/>
              <a:t>Sommerstudenter 2024</a:t>
            </a:r>
          </a:p>
          <a:p>
            <a:pPr lvl="1"/>
            <a:r>
              <a:rPr lang="nb-NO" dirty="0"/>
              <a:t>Ta i bruk mal på tvers av alle anlegg</a:t>
            </a:r>
          </a:p>
          <a:p>
            <a:pPr lvl="1"/>
            <a:r>
              <a:rPr lang="nb-NO" dirty="0"/>
              <a:t>Se at alle dagens komponenter er modellert</a:t>
            </a:r>
          </a:p>
          <a:p>
            <a:pPr lvl="1"/>
            <a:r>
              <a:rPr lang="nb-NO" dirty="0"/>
              <a:t>Legge til RDS-kode på komponenter i FDV-system</a:t>
            </a:r>
          </a:p>
          <a:p>
            <a:pPr lvl="1"/>
            <a:endParaRPr lang="nb-NO" dirty="0"/>
          </a:p>
          <a:p>
            <a:r>
              <a:rPr lang="nb-NO" dirty="0"/>
              <a:t>FDV skal ha RDS ila 2024</a:t>
            </a:r>
          </a:p>
          <a:p>
            <a:pPr lvl="1"/>
            <a:r>
              <a:rPr lang="nb-NO" dirty="0"/>
              <a:t>Dette gjelder både produkt og funksjon på komponenten.</a:t>
            </a:r>
          </a:p>
          <a:p>
            <a:pPr lvl="1"/>
            <a:endParaRPr lang="nb-NO" dirty="0"/>
          </a:p>
          <a:p>
            <a:r>
              <a:rPr lang="nb-NO" dirty="0"/>
              <a:t>Signalmodellering vil starte i 2025</a:t>
            </a:r>
          </a:p>
          <a:p>
            <a:pPr lvl="1"/>
            <a:r>
              <a:rPr lang="nb-NO" dirty="0"/>
              <a:t>POC på signalmodellering og kunnskapsgraf høst 2024</a:t>
            </a:r>
          </a:p>
          <a:p>
            <a:pPr lvl="1"/>
            <a:r>
              <a:rPr lang="nb-NO" dirty="0"/>
              <a:t>Vil i stor grad basere oss på Statkrafts prinsipper og IEC-61850</a:t>
            </a:r>
          </a:p>
          <a:p>
            <a:pPr lvl="1"/>
            <a:endParaRPr lang="nb-NO" dirty="0"/>
          </a:p>
          <a:p>
            <a:r>
              <a:rPr lang="nb-NO" dirty="0"/>
              <a:t>Dokumentasjon vil bruke </a:t>
            </a:r>
            <a:r>
              <a:rPr lang="nb-NO" dirty="0" err="1"/>
              <a:t>mapping</a:t>
            </a:r>
            <a:r>
              <a:rPr lang="nb-NO" dirty="0"/>
              <a:t> fra FDV for å bygge om arkivet og </a:t>
            </a:r>
            <a:r>
              <a:rPr lang="nb-NO" dirty="0" err="1"/>
              <a:t>tagstruktur</a:t>
            </a:r>
            <a:endParaRPr lang="nb-NO" dirty="0"/>
          </a:p>
          <a:p>
            <a:pPr lvl="1"/>
            <a:r>
              <a:rPr lang="nb-NO" dirty="0"/>
              <a:t>Bruke standard for ytterligere attributter er sikker</a:t>
            </a:r>
          </a:p>
          <a:p>
            <a:pPr lvl="1"/>
            <a:endParaRPr lang="nb-NO" dirty="0"/>
          </a:p>
          <a:p>
            <a:r>
              <a:rPr lang="nb-NO" dirty="0"/>
              <a:t>«Reklamerer» mot SCADA og Hydrologi for at de skal ta i bruk RDS også.</a:t>
            </a:r>
          </a:p>
          <a:p>
            <a:endParaRPr lang="nb-NO" dirty="0"/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187959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2D8E8D-1CB0-5C3C-7624-BA5F00E460B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014413" y="479425"/>
            <a:ext cx="11177587" cy="776288"/>
          </a:xfrm>
        </p:spPr>
        <p:txBody>
          <a:bodyPr/>
          <a:lstStyle/>
          <a:p>
            <a:r>
              <a:rPr lang="nb-NO" dirty="0"/>
              <a:t>Linker</a:t>
            </a:r>
          </a:p>
        </p:txBody>
      </p:sp>
    </p:spTree>
    <p:extLst>
      <p:ext uri="{BB962C8B-B14F-4D97-AF65-F5344CB8AC3E}">
        <p14:creationId xmlns:p14="http://schemas.microsoft.com/office/powerpoint/2010/main" val="15695482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1EBEB2-35CE-DA42-8D03-E0DD27ECF4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4100" y="261706"/>
            <a:ext cx="4634983" cy="6349891"/>
          </a:xfrm>
          <a:prstGeom prst="roundRect">
            <a:avLst>
              <a:gd name="adj" fmla="val 3005"/>
            </a:avLst>
          </a:prstGeom>
        </p:spPr>
        <p:txBody>
          <a:bodyPr anchor="t"/>
          <a:lstStyle/>
          <a:p>
            <a:pPr algn="l"/>
            <a:r>
              <a:rPr lang="nb-NO" sz="2650">
                <a:solidFill>
                  <a:schemeClr val="tx2"/>
                </a:solidFill>
              </a:rPr>
              <a:t>Våre vassdrag</a:t>
            </a:r>
            <a:endParaRPr lang="nb-NO" sz="1800" b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5DB61F2-7944-B443-AFBF-1AC68D1D8F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6A6BCC-FF39-42D9-ACE8-4D7C31198930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80CB050-F494-9042-806C-9854B518BC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Våre vassdrag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8023373F-9177-F443-BB9C-CA735506FC67}"/>
              </a:ext>
            </a:extLst>
          </p:cNvPr>
          <p:cNvSpPr txBox="1">
            <a:spLocks/>
          </p:cNvSpPr>
          <p:nvPr/>
        </p:nvSpPr>
        <p:spPr>
          <a:xfrm>
            <a:off x="723879" y="1622255"/>
            <a:ext cx="3713367" cy="4431983"/>
          </a:xfrm>
          <a:prstGeom prst="rect">
            <a:avLst/>
          </a:prstGeom>
        </p:spPr>
        <p:txBody>
          <a:bodyPr vert="horz" lIns="0" tIns="0" rIns="0" bIns="0" rtlCol="0" anchor="t">
            <a:normAutofit lnSpcReduction="10000"/>
          </a:bodyPr>
          <a:lstStyle>
            <a:lvl1pPr marL="457040" indent="-457040" algn="l" defTabSz="182816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>
                  <a:lumMod val="75000"/>
                </a:schemeClr>
              </a:buClr>
              <a:buFont typeface="Arial" panose="020B0604020202020204" pitchFamily="34" charset="0"/>
              <a:buChar char="•"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371120" indent="-457040" algn="l" defTabSz="182816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3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285200" indent="-457040" algn="l" defTabSz="182816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3199280" indent="-457040" algn="l" defTabSz="182816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4113360" indent="-457040" algn="l" defTabSz="182816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027440" indent="-457040" algn="l" defTabSz="182816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1520" indent="-457040" algn="l" defTabSz="182816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5600" indent="-457040" algn="l" defTabSz="182816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69680" indent="-457040" algn="l" defTabSz="182816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accent6"/>
              </a:buClr>
            </a:pPr>
            <a:r>
              <a:rPr lang="nb-NO" sz="1800">
                <a:solidFill>
                  <a:schemeClr val="tx2"/>
                </a:solidFill>
              </a:rPr>
              <a:t>Bergsdalsvassdraget</a:t>
            </a:r>
          </a:p>
          <a:p>
            <a:pPr>
              <a:buClr>
                <a:schemeClr val="accent6"/>
              </a:buClr>
            </a:pPr>
            <a:r>
              <a:rPr lang="nb-NO" sz="1800" err="1">
                <a:solidFill>
                  <a:schemeClr val="tx2"/>
                </a:solidFill>
              </a:rPr>
              <a:t>Bøfjordvassdraget</a:t>
            </a:r>
            <a:endParaRPr lang="nb-NO" sz="1800">
              <a:solidFill>
                <a:schemeClr val="tx2"/>
              </a:solidFill>
            </a:endParaRPr>
          </a:p>
          <a:p>
            <a:pPr>
              <a:buClr>
                <a:schemeClr val="accent6"/>
              </a:buClr>
            </a:pPr>
            <a:r>
              <a:rPr lang="nb-NO" sz="1800">
                <a:solidFill>
                  <a:schemeClr val="tx2"/>
                </a:solidFill>
              </a:rPr>
              <a:t>Eksingedals- og Teigdalsvassdraget</a:t>
            </a:r>
          </a:p>
          <a:p>
            <a:pPr>
              <a:buClr>
                <a:schemeClr val="accent6"/>
              </a:buClr>
            </a:pPr>
            <a:r>
              <a:rPr lang="nb-NO" sz="1800">
                <a:solidFill>
                  <a:schemeClr val="tx2"/>
                </a:solidFill>
              </a:rPr>
              <a:t>Jølstravassdraget</a:t>
            </a:r>
          </a:p>
          <a:p>
            <a:pPr>
              <a:buClr>
                <a:schemeClr val="accent6"/>
              </a:buClr>
            </a:pPr>
            <a:r>
              <a:rPr lang="nb-NO" sz="1800">
                <a:solidFill>
                  <a:schemeClr val="tx2"/>
                </a:solidFill>
              </a:rPr>
              <a:t>Matre- og nabovassdragene</a:t>
            </a:r>
          </a:p>
          <a:p>
            <a:pPr>
              <a:buClr>
                <a:schemeClr val="accent6"/>
              </a:buClr>
            </a:pPr>
            <a:r>
              <a:rPr lang="nb-NO" sz="1800">
                <a:solidFill>
                  <a:schemeClr val="tx2"/>
                </a:solidFill>
              </a:rPr>
              <a:t>Modalsvassdraget</a:t>
            </a:r>
          </a:p>
          <a:p>
            <a:pPr>
              <a:buClr>
                <a:schemeClr val="accent6"/>
              </a:buClr>
            </a:pPr>
            <a:r>
              <a:rPr lang="nb-NO" sz="1800">
                <a:solidFill>
                  <a:schemeClr val="tx2"/>
                </a:solidFill>
              </a:rPr>
              <a:t>Samnangervassdraget</a:t>
            </a:r>
          </a:p>
          <a:p>
            <a:pPr>
              <a:buClr>
                <a:schemeClr val="accent6"/>
              </a:buClr>
            </a:pPr>
            <a:endParaRPr lang="nb-NO" sz="1800">
              <a:solidFill>
                <a:schemeClr val="tx2"/>
              </a:solidFill>
            </a:endParaRPr>
          </a:p>
          <a:p>
            <a:pPr>
              <a:buClr>
                <a:schemeClr val="accent6"/>
              </a:buClr>
            </a:pPr>
            <a:r>
              <a:rPr lang="nb-NO" sz="1800">
                <a:solidFill>
                  <a:schemeClr val="tx2"/>
                </a:solidFill>
              </a:rPr>
              <a:t>Kraftverk i andre vassdrag </a:t>
            </a:r>
            <a:endParaRPr lang="nb-NO" sz="1400">
              <a:solidFill>
                <a:schemeClr val="tx2"/>
              </a:solidFill>
            </a:endParaRPr>
          </a:p>
          <a:p>
            <a:pPr lvl="1">
              <a:buClr>
                <a:schemeClr val="tx2"/>
              </a:buClr>
            </a:pPr>
            <a:r>
              <a:rPr lang="nb-NO" sz="1400">
                <a:solidFill>
                  <a:schemeClr val="tx2"/>
                </a:solidFill>
              </a:rPr>
              <a:t>Fossheim kraftverk</a:t>
            </a:r>
          </a:p>
          <a:p>
            <a:pPr lvl="1">
              <a:buClr>
                <a:schemeClr val="tx2"/>
              </a:buClr>
            </a:pPr>
            <a:r>
              <a:rPr lang="nb-NO" sz="1400">
                <a:solidFill>
                  <a:schemeClr val="tx2"/>
                </a:solidFill>
              </a:rPr>
              <a:t>Fossmark kraftverk</a:t>
            </a:r>
          </a:p>
          <a:p>
            <a:pPr lvl="1">
              <a:buClr>
                <a:schemeClr val="tx2"/>
              </a:buClr>
            </a:pPr>
            <a:r>
              <a:rPr lang="nb-NO" sz="1400" err="1">
                <a:solidFill>
                  <a:schemeClr val="tx2"/>
                </a:solidFill>
              </a:rPr>
              <a:t>Herlandsfoss</a:t>
            </a:r>
            <a:r>
              <a:rPr lang="nb-NO" sz="1400">
                <a:solidFill>
                  <a:schemeClr val="tx2"/>
                </a:solidFill>
              </a:rPr>
              <a:t> kraftverk</a:t>
            </a:r>
          </a:p>
          <a:p>
            <a:pPr lvl="1">
              <a:buClr>
                <a:schemeClr val="tx2"/>
              </a:buClr>
            </a:pPr>
            <a:r>
              <a:rPr lang="nb-NO" sz="1400" err="1">
                <a:solidFill>
                  <a:schemeClr val="tx2"/>
                </a:solidFill>
              </a:rPr>
              <a:t>Hålandsfossen</a:t>
            </a:r>
            <a:r>
              <a:rPr lang="nb-NO" sz="1400">
                <a:solidFill>
                  <a:schemeClr val="tx2"/>
                </a:solidFill>
              </a:rPr>
              <a:t> kraftverk</a:t>
            </a:r>
          </a:p>
          <a:p>
            <a:pPr lvl="1">
              <a:buClr>
                <a:schemeClr val="tx2"/>
              </a:buClr>
            </a:pPr>
            <a:r>
              <a:rPr lang="nb-NO" sz="1400" err="1">
                <a:solidFill>
                  <a:schemeClr val="tx2"/>
                </a:solidFill>
              </a:rPr>
              <a:t>Kløvtveit</a:t>
            </a:r>
            <a:r>
              <a:rPr lang="nb-NO" sz="1400">
                <a:solidFill>
                  <a:schemeClr val="tx2"/>
                </a:solidFill>
              </a:rPr>
              <a:t> kraftverk</a:t>
            </a:r>
          </a:p>
          <a:p>
            <a:pPr lvl="1">
              <a:buClr>
                <a:schemeClr val="tx2"/>
              </a:buClr>
            </a:pPr>
            <a:r>
              <a:rPr lang="nb-NO" sz="1400">
                <a:solidFill>
                  <a:schemeClr val="tx2"/>
                </a:solidFill>
              </a:rPr>
              <a:t>Stend kraftverk</a:t>
            </a:r>
          </a:p>
          <a:p>
            <a:pPr lvl="1">
              <a:buClr>
                <a:schemeClr val="tx2"/>
              </a:buClr>
            </a:pPr>
            <a:r>
              <a:rPr lang="nb-NO" sz="1400">
                <a:solidFill>
                  <a:schemeClr val="tx2"/>
                </a:solidFill>
              </a:rPr>
              <a:t>Trengereid kraftverk</a:t>
            </a:r>
          </a:p>
          <a:p>
            <a:pPr lvl="1">
              <a:buClr>
                <a:schemeClr val="tx2"/>
              </a:buClr>
            </a:pPr>
            <a:r>
              <a:rPr lang="nb-NO" sz="1400">
                <a:solidFill>
                  <a:schemeClr val="tx2"/>
                </a:solidFill>
              </a:rPr>
              <a:t>Tveit kraftverk</a:t>
            </a:r>
          </a:p>
          <a:p>
            <a:pPr lvl="1">
              <a:buClr>
                <a:schemeClr val="tx2"/>
              </a:buClr>
            </a:pPr>
            <a:r>
              <a:rPr lang="nb-NO" sz="1400">
                <a:solidFill>
                  <a:schemeClr val="tx2"/>
                </a:solidFill>
              </a:rPr>
              <a:t>Ulvik kraftverk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D0A5654C-CE57-5A40-A809-4FCA0DDE517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96000" y="0"/>
            <a:ext cx="4889317" cy="6611597"/>
          </a:xfrm>
          <a:prstGeom prst="rect">
            <a:avLst/>
          </a:prstGeom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6268681C-F18B-9241-B0CF-3E7CEEA33334}"/>
              </a:ext>
            </a:extLst>
          </p:cNvPr>
          <p:cNvSpPr/>
          <p:nvPr/>
        </p:nvSpPr>
        <p:spPr>
          <a:xfrm>
            <a:off x="6658054" y="3636857"/>
            <a:ext cx="228600" cy="2286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1DA85F03-C5CF-704E-BF20-D6017BF2E567}"/>
              </a:ext>
            </a:extLst>
          </p:cNvPr>
          <p:cNvSpPr/>
          <p:nvPr/>
        </p:nvSpPr>
        <p:spPr>
          <a:xfrm>
            <a:off x="6516164" y="2974705"/>
            <a:ext cx="228600" cy="2286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25AF2101-62D3-1244-967A-2A1F5819AB77}"/>
              </a:ext>
            </a:extLst>
          </p:cNvPr>
          <p:cNvSpPr/>
          <p:nvPr/>
        </p:nvSpPr>
        <p:spPr>
          <a:xfrm>
            <a:off x="6779576" y="3423696"/>
            <a:ext cx="228600" cy="2286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08FD630E-2FC4-084E-864D-4C67DECD520F}"/>
              </a:ext>
            </a:extLst>
          </p:cNvPr>
          <p:cNvSpPr/>
          <p:nvPr/>
        </p:nvSpPr>
        <p:spPr>
          <a:xfrm>
            <a:off x="6705350" y="2696181"/>
            <a:ext cx="228600" cy="2286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4208535-517A-4C4A-B23F-D2BBC05395D8}"/>
              </a:ext>
            </a:extLst>
          </p:cNvPr>
          <p:cNvSpPr/>
          <p:nvPr/>
        </p:nvSpPr>
        <p:spPr>
          <a:xfrm>
            <a:off x="6564958" y="3287165"/>
            <a:ext cx="228600" cy="2286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5C49E365-67BC-514C-81CD-A289DA4CEDD6}"/>
              </a:ext>
            </a:extLst>
          </p:cNvPr>
          <p:cNvSpPr/>
          <p:nvPr/>
        </p:nvSpPr>
        <p:spPr>
          <a:xfrm>
            <a:off x="7018473" y="3382507"/>
            <a:ext cx="228600" cy="2286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354A06A7-26DE-0B4C-B998-374637976984}"/>
              </a:ext>
            </a:extLst>
          </p:cNvPr>
          <p:cNvSpPr/>
          <p:nvPr/>
        </p:nvSpPr>
        <p:spPr>
          <a:xfrm>
            <a:off x="6630464" y="3891023"/>
            <a:ext cx="228600" cy="2286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</p:spTree>
    <p:extLst>
      <p:ext uri="{BB962C8B-B14F-4D97-AF65-F5344CB8AC3E}">
        <p14:creationId xmlns:p14="http://schemas.microsoft.com/office/powerpoint/2010/main" val="27646709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1AD5ED-01FB-502A-90AE-EA7CFD8782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EBL </a:t>
            </a:r>
            <a:r>
              <a:rPr lang="nb-NO" dirty="0" err="1"/>
              <a:t>vs</a:t>
            </a:r>
            <a:r>
              <a:rPr lang="nb-NO" dirty="0"/>
              <a:t> R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8C8DFD-CC2C-9DA2-6C08-1E3C55140D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8683" y="2023975"/>
            <a:ext cx="3457125" cy="5139894"/>
          </a:xfrm>
        </p:spPr>
        <p:txBody>
          <a:bodyPr/>
          <a:lstStyle/>
          <a:p>
            <a:r>
              <a:rPr lang="nb-NO" dirty="0"/>
              <a:t>«Død»</a:t>
            </a:r>
          </a:p>
          <a:p>
            <a:r>
              <a:rPr lang="nb-NO" dirty="0"/>
              <a:t>Flat struktur</a:t>
            </a:r>
          </a:p>
          <a:p>
            <a:r>
              <a:rPr lang="nb-NO" dirty="0"/>
              <a:t>Gruppering av typer</a:t>
            </a:r>
          </a:p>
          <a:p>
            <a:r>
              <a:rPr lang="nb-NO" dirty="0"/>
              <a:t>Ingen relasjoner</a:t>
            </a:r>
          </a:p>
          <a:p>
            <a:r>
              <a:rPr lang="nb-NO" dirty="0"/>
              <a:t>Ingen leverandører bruker det</a:t>
            </a:r>
          </a:p>
          <a:p>
            <a:endParaRPr lang="nb-NO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764468-A28F-05AD-90C5-F74582F4D406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29139" y="2023975"/>
            <a:ext cx="3457125" cy="5139894"/>
          </a:xfrm>
        </p:spPr>
        <p:txBody>
          <a:bodyPr/>
          <a:lstStyle/>
          <a:p>
            <a:r>
              <a:rPr lang="nb-NO" dirty="0"/>
              <a:t>Internasjonal</a:t>
            </a:r>
          </a:p>
          <a:p>
            <a:r>
              <a:rPr lang="nb-NO" dirty="0"/>
              <a:t>Relasjonsbasert</a:t>
            </a:r>
          </a:p>
          <a:p>
            <a:r>
              <a:rPr lang="nb-NO" dirty="0"/>
              <a:t>Fungerer med ISO-jungelen</a:t>
            </a:r>
          </a:p>
          <a:p>
            <a:r>
              <a:rPr lang="nb-NO" dirty="0"/>
              <a:t>Kan brukes til både komponenter, tidsserier, dokumenter, strukturer, lokasjoner, osv.</a:t>
            </a:r>
          </a:p>
          <a:p>
            <a:r>
              <a:rPr lang="nb-NO" dirty="0"/>
              <a:t>Fungerer i alle systemer vi har</a:t>
            </a:r>
          </a:p>
          <a:p>
            <a:r>
              <a:rPr lang="nb-NO" dirty="0"/>
              <a:t>Bindeleddet i </a:t>
            </a:r>
            <a:r>
              <a:rPr lang="nb-NO" dirty="0" err="1"/>
              <a:t>informasjonslaget</a:t>
            </a:r>
            <a:endParaRPr lang="nb-NO" dirty="0"/>
          </a:p>
          <a:p>
            <a:r>
              <a:rPr lang="nb-NO" dirty="0"/>
              <a:t>Interesse fra leverandører</a:t>
            </a:r>
          </a:p>
          <a:p>
            <a:r>
              <a:rPr lang="nb-NO" dirty="0"/>
              <a:t>Aggregering av kritikalitet</a:t>
            </a:r>
          </a:p>
          <a:p>
            <a:endParaRPr lang="nb-NO" dirty="0"/>
          </a:p>
          <a:p>
            <a:endParaRPr lang="nb-NO" dirty="0"/>
          </a:p>
          <a:p>
            <a:endParaRPr lang="nb-NO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0EBB886-2729-F6F5-4829-5D36ACD0751A}"/>
              </a:ext>
            </a:extLst>
          </p:cNvPr>
          <p:cNvSpPr txBox="1">
            <a:spLocks/>
          </p:cNvSpPr>
          <p:nvPr/>
        </p:nvSpPr>
        <p:spPr>
          <a:xfrm>
            <a:off x="4368683" y="1354336"/>
            <a:ext cx="854481" cy="72384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28440" indent="-228440" algn="l" defTabSz="91376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320" indent="-228440" algn="l" defTabSz="91376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2200" indent="-228440" algn="l" defTabSz="91376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599080" indent="-228440" algn="l" defTabSz="91376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5960" indent="-228440" algn="l" defTabSz="91376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2840" indent="-228440" algn="l" defTabSz="91376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9720" indent="-228440" algn="l" defTabSz="91376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601" indent="-228440" algn="l" defTabSz="91376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481" indent="-228440" algn="l" defTabSz="91376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b-NO" sz="2400" dirty="0"/>
              <a:t>EBL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44E0E60-4639-485D-030F-D57998D8809C}"/>
              </a:ext>
            </a:extLst>
          </p:cNvPr>
          <p:cNvSpPr txBox="1">
            <a:spLocks/>
          </p:cNvSpPr>
          <p:nvPr/>
        </p:nvSpPr>
        <p:spPr>
          <a:xfrm>
            <a:off x="8229139" y="1354336"/>
            <a:ext cx="854481" cy="72384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28440" indent="-228440" algn="l" defTabSz="91376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320" indent="-228440" algn="l" defTabSz="91376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2200" indent="-228440" algn="l" defTabSz="91376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599080" indent="-228440" algn="l" defTabSz="91376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5960" indent="-228440" algn="l" defTabSz="91376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2840" indent="-228440" algn="l" defTabSz="91376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9720" indent="-228440" algn="l" defTabSz="91376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601" indent="-228440" algn="l" defTabSz="91376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481" indent="-228440" algn="l" defTabSz="91376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b-NO" sz="2400" dirty="0"/>
              <a:t>RDS</a:t>
            </a:r>
          </a:p>
        </p:txBody>
      </p:sp>
    </p:spTree>
    <p:extLst>
      <p:ext uri="{BB962C8B-B14F-4D97-AF65-F5344CB8AC3E}">
        <p14:creationId xmlns:p14="http://schemas.microsoft.com/office/powerpoint/2010/main" val="26010465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God kommunikasjon bedrer krisehåndteringen - F24">
            <a:extLst>
              <a:ext uri="{FF2B5EF4-FFF2-40B4-BE49-F238E27FC236}">
                <a16:creationId xmlns:a16="http://schemas.microsoft.com/office/drawing/2014/main" id="{CEC8637B-0CF3-170C-30B1-7B5E0FC430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1045438"/>
            <a:ext cx="12192001" cy="5812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3A584B93-F0FB-16EB-0FD5-920D209F9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Brukereksempel RDS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4C141F52-0FD0-4313-40EC-33A3B6CCA9E1}"/>
              </a:ext>
            </a:extLst>
          </p:cNvPr>
          <p:cNvSpPr txBox="1"/>
          <p:nvPr/>
        </p:nvSpPr>
        <p:spPr>
          <a:xfrm>
            <a:off x="695958" y="1143664"/>
            <a:ext cx="374349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Produksjonssentralen;</a:t>
            </a:r>
            <a:r>
              <a:rPr lang="nb-NO" sz="1400" dirty="0"/>
              <a:t> </a:t>
            </a:r>
            <a:r>
              <a:rPr lang="nb-NO" sz="1400" i="1" dirty="0"/>
              <a:t>Vi fikk Trip av aggregatet på grunn av signal (</a:t>
            </a:r>
            <a:r>
              <a:rPr lang="nb-NO" sz="1400" b="1" i="1" dirty="0"/>
              <a:t>/61850</a:t>
            </a:r>
            <a:r>
              <a:rPr lang="nb-NO" sz="1400" i="1" dirty="0"/>
              <a:t>) fra denne funksjonen (</a:t>
            </a:r>
            <a:r>
              <a:rPr lang="nb-NO" sz="1400" b="1" i="1" dirty="0"/>
              <a:t>=</a:t>
            </a:r>
            <a:r>
              <a:rPr lang="nb-NO" sz="1400" i="1" dirty="0"/>
              <a:t>).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71D1FD20-E897-4E0E-30D4-4E168AF43F88}"/>
              </a:ext>
            </a:extLst>
          </p:cNvPr>
          <p:cNvSpPr txBox="1"/>
          <p:nvPr/>
        </p:nvSpPr>
        <p:spPr>
          <a:xfrm>
            <a:off x="3400063" y="1896922"/>
            <a:ext cx="37434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Kraftverksoperatør; </a:t>
            </a:r>
            <a:r>
              <a:rPr lang="nb-NO" sz="1400" i="1" dirty="0"/>
              <a:t>Hvor skal jeg gjøre det?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528FF26B-7E6F-E783-28AD-6D9B75C2CEAE}"/>
              </a:ext>
            </a:extLst>
          </p:cNvPr>
          <p:cNvSpPr txBox="1"/>
          <p:nvPr/>
        </p:nvSpPr>
        <p:spPr>
          <a:xfrm>
            <a:off x="6970105" y="2260622"/>
            <a:ext cx="37434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Produksjonssentralen; </a:t>
            </a:r>
            <a:r>
              <a:rPr lang="nb-NO" sz="1400" i="1" dirty="0"/>
              <a:t>Signalet kom fra dette skapet (</a:t>
            </a:r>
            <a:r>
              <a:rPr lang="nb-NO" sz="1400" b="1" i="1" dirty="0"/>
              <a:t>+</a:t>
            </a:r>
            <a:r>
              <a:rPr lang="nb-NO" sz="1400" i="1" dirty="0"/>
              <a:t>), det er av denne typen (%)</a:t>
            </a: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154BFEAD-C5FC-7E58-C704-45FD911D0DB4}"/>
              </a:ext>
            </a:extLst>
          </p:cNvPr>
          <p:cNvSpPr txBox="1"/>
          <p:nvPr/>
        </p:nvSpPr>
        <p:spPr>
          <a:xfrm>
            <a:off x="3032541" y="4778064"/>
            <a:ext cx="374349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Kraftverksoperatør; </a:t>
            </a:r>
            <a:r>
              <a:rPr lang="nb-NO" sz="1400" i="1" dirty="0"/>
              <a:t>Ja, jeg ser at dette produktet (</a:t>
            </a:r>
            <a:r>
              <a:rPr lang="nb-NO" sz="1400" b="1" i="1" dirty="0"/>
              <a:t>-</a:t>
            </a:r>
            <a:r>
              <a:rPr lang="nb-NO" sz="1400" i="1" dirty="0"/>
              <a:t>) har sviktet. Ber komponentansvarlig kjøpe nytt.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7839ACAA-5561-165D-4ED2-7566EB890837}"/>
              </a:ext>
            </a:extLst>
          </p:cNvPr>
          <p:cNvSpPr txBox="1"/>
          <p:nvPr/>
        </p:nvSpPr>
        <p:spPr>
          <a:xfrm>
            <a:off x="6231095" y="5714888"/>
            <a:ext cx="374349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Komponentansvarlig; </a:t>
            </a:r>
            <a:r>
              <a:rPr lang="nb-NO" sz="1400" i="1" dirty="0"/>
              <a:t>Produktet (-) har felles reservedel for flere av stasjonene, får reparert i morgen.</a:t>
            </a:r>
          </a:p>
        </p:txBody>
      </p:sp>
    </p:spTree>
    <p:extLst>
      <p:ext uri="{BB962C8B-B14F-4D97-AF65-F5344CB8AC3E}">
        <p14:creationId xmlns:p14="http://schemas.microsoft.com/office/powerpoint/2010/main" val="29253295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60B33-E38B-28DC-764A-AAB12638AC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83465" y="2718867"/>
            <a:ext cx="2999220" cy="2097080"/>
          </a:xfrm>
        </p:spPr>
        <p:txBody>
          <a:bodyPr/>
          <a:lstStyle/>
          <a:p>
            <a:r>
              <a:rPr lang="nb-NO" dirty="0"/>
              <a:t>Strategisk tilknytn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62D5D3-7FBC-CA85-F39B-6F4FC622C488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451344" y="1724290"/>
            <a:ext cx="5476973" cy="774765"/>
          </a:xfrm>
        </p:spPr>
        <p:txBody>
          <a:bodyPr/>
          <a:lstStyle/>
          <a:p>
            <a:pPr marL="0" indent="0">
              <a:buNone/>
            </a:pPr>
            <a:r>
              <a:rPr lang="nb-NO" sz="2400" dirty="0"/>
              <a:t>«Vi digitaliserer der det gir gevinst og baserer beslutninger på data»</a:t>
            </a:r>
          </a:p>
          <a:p>
            <a:endParaRPr lang="nb-NO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F1F7763-BBFF-C4CA-0CEF-68176FE91630}"/>
              </a:ext>
            </a:extLst>
          </p:cNvPr>
          <p:cNvSpPr txBox="1"/>
          <p:nvPr/>
        </p:nvSpPr>
        <p:spPr>
          <a:xfrm>
            <a:off x="0" y="2859465"/>
            <a:ext cx="6234545" cy="209707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indent="0" defTabSz="914080">
              <a:lnSpc>
                <a:spcPct val="100000"/>
              </a:lnSpc>
              <a:spcBef>
                <a:spcPts val="0"/>
              </a:spcBef>
              <a:buClr>
                <a:schemeClr val="bg2">
                  <a:lumMod val="75000"/>
                </a:schemeClr>
              </a:buClr>
              <a:buFont typeface="Arial" panose="020B0604020202020204" pitchFamily="34" charset="0"/>
              <a:buNone/>
              <a:defRPr>
                <a:solidFill>
                  <a:schemeClr val="dk2"/>
                </a:solidFill>
              </a:defRPr>
            </a:lvl1pPr>
            <a:lvl2pPr marL="685560" indent="-228520" defTabSz="914080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dk2"/>
                </a:solidFill>
              </a:defRPr>
            </a:lvl2pPr>
            <a:lvl3pPr marL="1142600" indent="-228520" defTabSz="914080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dk2"/>
                </a:solidFill>
              </a:defRPr>
            </a:lvl3pPr>
            <a:lvl4pPr marL="1599640" indent="-228520" defTabSz="914080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dk2"/>
                </a:solidFill>
              </a:defRPr>
            </a:lvl4pPr>
            <a:lvl5pPr marL="2056680" indent="-228520" defTabSz="914080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dk2"/>
                </a:solidFill>
              </a:defRPr>
            </a:lvl5pPr>
            <a:lvl6pPr marL="2513720" indent="-228520" defTabSz="91408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0760" indent="-228520" defTabSz="91408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7800" indent="-228520" defTabSz="91408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4840" indent="-228520" defTabSz="91408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457040" lvl="1" indent="0">
              <a:buNone/>
            </a:pPr>
            <a:r>
              <a:rPr lang="nb-NO" dirty="0"/>
              <a:t>Hovedmålet (for min del) er å jobbe mer effektivt i forvaltningen av våre anlegg. Ved å koble komponenter med deres tilhørende tidsserier, tilstand, kritikalitet, type, kostnader, osv. vil man kunne oppnå en mer strømlinjet og effektiv beslutningsprosess.</a:t>
            </a:r>
          </a:p>
          <a:p>
            <a:pPr marL="457040" lvl="1" indent="0">
              <a:buNone/>
            </a:pPr>
            <a:endParaRPr lang="nb-NO" dirty="0"/>
          </a:p>
          <a:p>
            <a:pPr marL="457040" lvl="1" indent="0">
              <a:buNone/>
            </a:pPr>
            <a:r>
              <a:rPr lang="nb-NO" dirty="0"/>
              <a:t>RDS ser vi på som et grunnlag for å oppnå gevinsten til selskapet.</a:t>
            </a:r>
          </a:p>
        </p:txBody>
      </p:sp>
    </p:spTree>
    <p:extLst>
      <p:ext uri="{BB962C8B-B14F-4D97-AF65-F5344CB8AC3E}">
        <p14:creationId xmlns:p14="http://schemas.microsoft.com/office/powerpoint/2010/main" val="22546883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B067F45-A47A-DD7D-292F-6B2B24000A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68865" y="4132339"/>
            <a:ext cx="4170645" cy="172214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5C48B7B-069B-AAAA-3B57-A232836076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36670" y="4132339"/>
            <a:ext cx="2138020" cy="195136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F48311F-AF36-7005-A89C-63C49409385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45846" y="3998075"/>
            <a:ext cx="2196649" cy="2219894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5B2B7307-5EFA-4358-DA9E-B57DA6777292}"/>
              </a:ext>
            </a:extLst>
          </p:cNvPr>
          <p:cNvSpPr txBox="1">
            <a:spLocks/>
          </p:cNvSpPr>
          <p:nvPr/>
        </p:nvSpPr>
        <p:spPr>
          <a:xfrm>
            <a:off x="723798" y="1114482"/>
            <a:ext cx="6408521" cy="271685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28440" indent="-228440" algn="l" defTabSz="91376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dk2"/>
                </a:solidFill>
                <a:latin typeface="+mn-lt"/>
                <a:ea typeface="+mn-ea"/>
                <a:cs typeface="+mn-cs"/>
              </a:defRPr>
            </a:lvl1pPr>
            <a:lvl2pPr marL="685320" indent="-228440" algn="l" defTabSz="91376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dk2"/>
                </a:solidFill>
                <a:latin typeface="+mn-lt"/>
                <a:ea typeface="+mn-ea"/>
                <a:cs typeface="+mn-cs"/>
              </a:defRPr>
            </a:lvl2pPr>
            <a:lvl3pPr marL="1142200" indent="-228440" algn="l" defTabSz="91376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dk2"/>
                </a:solidFill>
                <a:latin typeface="+mn-lt"/>
                <a:ea typeface="+mn-ea"/>
                <a:cs typeface="+mn-cs"/>
              </a:defRPr>
            </a:lvl3pPr>
            <a:lvl4pPr marL="1599080" indent="-228440" algn="l" defTabSz="91376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dk2"/>
                </a:solidFill>
                <a:latin typeface="+mn-lt"/>
                <a:ea typeface="+mn-ea"/>
                <a:cs typeface="+mn-cs"/>
              </a:defRPr>
            </a:lvl4pPr>
            <a:lvl5pPr marL="2055960" indent="-228440" algn="l" defTabSz="91376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dk2"/>
                </a:solidFill>
                <a:latin typeface="+mn-lt"/>
                <a:ea typeface="+mn-ea"/>
                <a:cs typeface="+mn-cs"/>
              </a:defRPr>
            </a:lvl5pPr>
            <a:lvl6pPr marL="2512840" indent="-228440" algn="l" defTabSz="91376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9720" indent="-228440" algn="l" defTabSz="91376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601" indent="-228440" algn="l" defTabSz="91376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481" indent="-228440" algn="l" defTabSz="91376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b-NO" sz="2400" b="1" u="sng" dirty="0"/>
              <a:t>ISO 81346-10</a:t>
            </a:r>
          </a:p>
          <a:p>
            <a:r>
              <a:rPr lang="nb-NO" dirty="0"/>
              <a:t>Mye samarbeid og entusiasme i starten.</a:t>
            </a:r>
          </a:p>
          <a:p>
            <a:r>
              <a:rPr lang="nb-NO" dirty="0"/>
              <a:t>Endringer og lange tidshorisonter.</a:t>
            </a:r>
          </a:p>
          <a:p>
            <a:r>
              <a:rPr lang="nb-NO" dirty="0"/>
              <a:t>Erik Wiborg har stått støtt og holdt det varmt.</a:t>
            </a:r>
          </a:p>
          <a:p>
            <a:r>
              <a:rPr lang="nb-NO" dirty="0"/>
              <a:t>Eviny – ny revitalisering internt gjennom nytt mandat og prosjekt.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35149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962D8CB-E47E-25AC-3A0D-DCFA2AE357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 vert="horz" wrap="square" lIns="0" tIns="0" rIns="0" bIns="0" rtlCol="0" anchor="t">
            <a:noAutofit/>
          </a:bodyPr>
          <a:lstStyle/>
          <a:p>
            <a:pPr defTabSz="914080">
              <a:lnSpc>
                <a:spcPct val="95000"/>
              </a:lnSpc>
            </a:pPr>
            <a:r>
              <a:rPr lang="nb-NO" sz="2400" dirty="0">
                <a:solidFill>
                  <a:schemeClr val="dk2"/>
                </a:solidFill>
              </a:rPr>
              <a:t>IEC 81346-1 - Basic </a:t>
            </a:r>
            <a:r>
              <a:rPr lang="nb-NO" sz="2400" dirty="0" err="1">
                <a:solidFill>
                  <a:schemeClr val="dk2"/>
                </a:solidFill>
              </a:rPr>
              <a:t>rules</a:t>
            </a:r>
            <a:br>
              <a:rPr lang="nb-NO" sz="2400" dirty="0">
                <a:solidFill>
                  <a:schemeClr val="dk2"/>
                </a:solidFill>
              </a:rPr>
            </a:br>
            <a:r>
              <a:rPr lang="nb-NO" sz="2400" dirty="0">
                <a:solidFill>
                  <a:schemeClr val="dk2"/>
                </a:solidFill>
              </a:rPr>
              <a:t>IEC 81346-2 - </a:t>
            </a:r>
            <a:r>
              <a:rPr lang="nb-NO" sz="2400" dirty="0" err="1">
                <a:solidFill>
                  <a:schemeClr val="dk2"/>
                </a:solidFill>
              </a:rPr>
              <a:t>Classification</a:t>
            </a:r>
            <a:r>
              <a:rPr lang="nb-NO" sz="2400" dirty="0">
                <a:solidFill>
                  <a:schemeClr val="dk2"/>
                </a:solidFill>
              </a:rPr>
              <a:t> </a:t>
            </a:r>
            <a:r>
              <a:rPr lang="nb-NO" sz="2400" dirty="0" err="1">
                <a:solidFill>
                  <a:schemeClr val="dk2"/>
                </a:solidFill>
              </a:rPr>
              <a:t>of</a:t>
            </a:r>
            <a:r>
              <a:rPr lang="nb-NO" sz="2400" dirty="0">
                <a:solidFill>
                  <a:schemeClr val="dk2"/>
                </a:solidFill>
              </a:rPr>
              <a:t> </a:t>
            </a:r>
            <a:r>
              <a:rPr lang="nb-NO" sz="2400" dirty="0" err="1">
                <a:solidFill>
                  <a:schemeClr val="dk2"/>
                </a:solidFill>
              </a:rPr>
              <a:t>objects</a:t>
            </a:r>
            <a:r>
              <a:rPr lang="nb-NO" sz="2400" dirty="0">
                <a:solidFill>
                  <a:schemeClr val="dk2"/>
                </a:solidFill>
              </a:rPr>
              <a:t> and </a:t>
            </a:r>
            <a:r>
              <a:rPr lang="nb-NO" sz="2400" dirty="0" err="1">
                <a:solidFill>
                  <a:schemeClr val="dk2"/>
                </a:solidFill>
              </a:rPr>
              <a:t>codes</a:t>
            </a:r>
            <a:r>
              <a:rPr lang="nb-NO" sz="2400" dirty="0">
                <a:solidFill>
                  <a:schemeClr val="dk2"/>
                </a:solidFill>
              </a:rPr>
              <a:t> for </a:t>
            </a:r>
            <a:r>
              <a:rPr lang="nb-NO" sz="2400" dirty="0" err="1">
                <a:solidFill>
                  <a:schemeClr val="dk2"/>
                </a:solidFill>
              </a:rPr>
              <a:t>classes</a:t>
            </a:r>
            <a:br>
              <a:rPr lang="nb-NO" sz="2400" dirty="0">
                <a:solidFill>
                  <a:schemeClr val="dk2"/>
                </a:solidFill>
              </a:rPr>
            </a:br>
            <a:r>
              <a:rPr lang="nb-NO" sz="2400" dirty="0">
                <a:solidFill>
                  <a:schemeClr val="dk2"/>
                </a:solidFill>
              </a:rPr>
              <a:t>ISO/IEC 81346-10 – Power Systems</a:t>
            </a:r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6CAAF46D-0B49-E9CA-156C-823E1EFA8E7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/>
        </p:blipFill>
        <p:spPr>
          <a:xfrm>
            <a:off x="3009023" y="1940549"/>
            <a:ext cx="4987287" cy="4525964"/>
          </a:xfrm>
          <a:noFill/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07C05EF-D506-9DE8-6584-60FFD6AF4338}"/>
              </a:ext>
            </a:extLst>
          </p:cNvPr>
          <p:cNvSpPr txBox="1"/>
          <p:nvPr/>
        </p:nvSpPr>
        <p:spPr>
          <a:xfrm>
            <a:off x="8132323" y="2091447"/>
            <a:ext cx="197471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%</a:t>
            </a:r>
            <a:r>
              <a:rPr lang="nb-NO" dirty="0" err="1"/>
              <a:t>GPAx</a:t>
            </a:r>
            <a:endParaRPr lang="nb-NO" dirty="0"/>
          </a:p>
          <a:p>
            <a:r>
              <a:rPr lang="nb-NO" dirty="0"/>
              <a:t>Sentrifugal, skru, vingepumpe, ..?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21259D7-B445-ACC8-4F3D-32681B76FC02}"/>
              </a:ext>
            </a:extLst>
          </p:cNvPr>
          <p:cNvSpPr txBox="1"/>
          <p:nvPr/>
        </p:nvSpPr>
        <p:spPr>
          <a:xfrm>
            <a:off x="609601" y="2091447"/>
            <a:ext cx="256810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-GPA1</a:t>
            </a:r>
          </a:p>
          <a:p>
            <a:r>
              <a:rPr lang="nb-NO" dirty="0"/>
              <a:t>Fysisk objekt, FDV, dokumentasjon, osv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9AD1D1F-F207-E5A1-E8D6-786C3D2AF2E7}"/>
              </a:ext>
            </a:extLst>
          </p:cNvPr>
          <p:cNvSpPr txBox="1"/>
          <p:nvPr/>
        </p:nvSpPr>
        <p:spPr>
          <a:xfrm>
            <a:off x="609600" y="5392285"/>
            <a:ext cx="256810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=GPA1</a:t>
            </a:r>
          </a:p>
          <a:p>
            <a:r>
              <a:rPr lang="nb-NO" dirty="0"/>
              <a:t>Tidsseriene, kritikalitetsvurdering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828AFA6-69C1-50B7-9BEB-590CD76679E0}"/>
              </a:ext>
            </a:extLst>
          </p:cNvPr>
          <p:cNvSpPr txBox="1"/>
          <p:nvPr/>
        </p:nvSpPr>
        <p:spPr>
          <a:xfrm>
            <a:off x="8132323" y="5241746"/>
            <a:ext cx="256810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++LA1</a:t>
            </a:r>
          </a:p>
          <a:p>
            <a:r>
              <a:rPr lang="nb-NO" dirty="0"/>
              <a:t>Lokasjonen til objektet, kartsystem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6D77041-92A4-BF21-95BB-861D48B64EA8}"/>
              </a:ext>
            </a:extLst>
          </p:cNvPr>
          <p:cNvSpPr txBox="1"/>
          <p:nvPr/>
        </p:nvSpPr>
        <p:spPr>
          <a:xfrm>
            <a:off x="4832106" y="6583361"/>
            <a:ext cx="13411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i="1" dirty="0"/>
              <a:t>Bilde: 81346.com</a:t>
            </a:r>
          </a:p>
        </p:txBody>
      </p:sp>
    </p:spTree>
    <p:extLst>
      <p:ext uri="{BB962C8B-B14F-4D97-AF65-F5344CB8AC3E}">
        <p14:creationId xmlns:p14="http://schemas.microsoft.com/office/powerpoint/2010/main" val="2273634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08C79DF1-7494-F106-4F6F-0D27984C456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14531" y="1424838"/>
            <a:ext cx="7769105" cy="4485791"/>
          </a:xfrm>
        </p:spPr>
      </p:pic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5342C4A-D257-98B5-A955-3923D9DB7BB6}"/>
              </a:ext>
            </a:extLst>
          </p:cNvPr>
          <p:cNvCxnSpPr>
            <a:cxnSpLocks/>
          </p:cNvCxnSpPr>
          <p:nvPr/>
        </p:nvCxnSpPr>
        <p:spPr>
          <a:xfrm>
            <a:off x="13023704" y="2860179"/>
            <a:ext cx="399015" cy="0"/>
          </a:xfrm>
          <a:prstGeom prst="line">
            <a:avLst/>
          </a:prstGeom>
          <a:ln w="635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521E10A0-FE9A-A662-616A-3DF90836AFDF}"/>
              </a:ext>
            </a:extLst>
          </p:cNvPr>
          <p:cNvCxnSpPr>
            <a:cxnSpLocks/>
          </p:cNvCxnSpPr>
          <p:nvPr/>
        </p:nvCxnSpPr>
        <p:spPr>
          <a:xfrm>
            <a:off x="7499205" y="2769691"/>
            <a:ext cx="270428" cy="0"/>
          </a:xfrm>
          <a:prstGeom prst="line">
            <a:avLst/>
          </a:prstGeom>
          <a:ln w="635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64" name="Tittel 1">
            <a:extLst>
              <a:ext uri="{FF2B5EF4-FFF2-40B4-BE49-F238E27FC236}">
                <a16:creationId xmlns:a16="http://schemas.microsoft.com/office/drawing/2014/main" id="{10618108-68AA-1FE0-DB7C-2C74E3BFA6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646217"/>
          </a:xfrm>
        </p:spPr>
        <p:txBody>
          <a:bodyPr/>
          <a:lstStyle/>
          <a:p>
            <a:r>
              <a:rPr lang="nb-NO" dirty="0"/>
              <a:t>Vassdra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8A69312-39FE-ABB1-FBFE-8D7B0F01B7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75978" y="597747"/>
            <a:ext cx="4101491" cy="6102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1199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tel 1">
            <a:extLst>
              <a:ext uri="{FF2B5EF4-FFF2-40B4-BE49-F238E27FC236}">
                <a16:creationId xmlns:a16="http://schemas.microsoft.com/office/drawing/2014/main" id="{BD0C1257-17B5-43F2-B402-0771276096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Vassdrag</a:t>
            </a:r>
          </a:p>
        </p:txBody>
      </p:sp>
      <p:sp>
        <p:nvSpPr>
          <p:cNvPr id="18" name="Plassholder for innhold 2">
            <a:extLst>
              <a:ext uri="{FF2B5EF4-FFF2-40B4-BE49-F238E27FC236}">
                <a16:creationId xmlns:a16="http://schemas.microsoft.com/office/drawing/2014/main" id="{6E33A211-0895-454D-A103-3DAF79AD6C14}"/>
              </a:ext>
            </a:extLst>
          </p:cNvPr>
          <p:cNvSpPr txBox="1">
            <a:spLocks/>
          </p:cNvSpPr>
          <p:nvPr/>
        </p:nvSpPr>
        <p:spPr>
          <a:xfrm>
            <a:off x="582475" y="1594216"/>
            <a:ext cx="4010808" cy="4525964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201613" indent="-201613" algn="l" defTabSz="914400" rtl="0" eaLnBrk="1" latinLnBrk="0" hangingPunct="1">
              <a:lnSpc>
                <a:spcPts val="2000"/>
              </a:lnSpc>
              <a:spcBef>
                <a:spcPct val="20000"/>
              </a:spcBef>
              <a:buClr>
                <a:srgbClr val="BBA600"/>
              </a:buClr>
              <a:buFont typeface="Wingdings" panose="05000000000000000000" pitchFamily="2" charset="2"/>
              <a:buChar char="§"/>
              <a:defRPr sz="1600" b="0" i="0" kern="1200" cap="none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18500" indent="-202500" algn="l" defTabSz="914400" rtl="0" eaLnBrk="1" latinLnBrk="0" hangingPunct="1">
              <a:lnSpc>
                <a:spcPts val="2000"/>
              </a:lnSpc>
              <a:spcBef>
                <a:spcPct val="20000"/>
              </a:spcBef>
              <a:buClr>
                <a:srgbClr val="BBA600"/>
              </a:buClr>
              <a:buFont typeface="Wingdings" panose="05000000000000000000" pitchFamily="2" charset="2"/>
              <a:buChar char="§"/>
              <a:defRPr sz="1600" b="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34500" indent="-228600" algn="l" defTabSz="914400" rtl="0" eaLnBrk="1" latinLnBrk="0" hangingPunct="1">
              <a:lnSpc>
                <a:spcPts val="2000"/>
              </a:lnSpc>
              <a:spcBef>
                <a:spcPct val="20000"/>
              </a:spcBef>
              <a:buClr>
                <a:srgbClr val="BBA600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50500" indent="-228600" algn="l" defTabSz="914400" rtl="0" eaLnBrk="1" latinLnBrk="0" hangingPunct="1">
              <a:lnSpc>
                <a:spcPts val="2000"/>
              </a:lnSpc>
              <a:spcBef>
                <a:spcPct val="20000"/>
              </a:spcBef>
              <a:buClr>
                <a:srgbClr val="BBA600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80000" indent="-228600" algn="l" defTabSz="914400" rtl="0" eaLnBrk="1" latinLnBrk="0" hangingPunct="1">
              <a:lnSpc>
                <a:spcPts val="2000"/>
              </a:lnSpc>
              <a:spcBef>
                <a:spcPct val="20000"/>
              </a:spcBef>
              <a:buClr>
                <a:srgbClr val="BBA600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2133" dirty="0"/>
              <a:t>Inndeling av Vassdrag per kraftverk</a:t>
            </a:r>
          </a:p>
          <a:p>
            <a:r>
              <a:rPr lang="nb-NO" sz="2133" dirty="0">
                <a:solidFill>
                  <a:schemeClr val="tx1"/>
                </a:solidFill>
              </a:rPr>
              <a:t>Kraftverk omfatter både tilhørende reguleringsanlegg og kraftstasjon</a:t>
            </a:r>
          </a:p>
          <a:p>
            <a:endParaRPr lang="nb-NO" sz="2133" dirty="0"/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4AA334C2-50B4-16C3-07DC-E056626995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5958338"/>
              </p:ext>
            </p:extLst>
          </p:nvPr>
        </p:nvGraphicFramePr>
        <p:xfrm>
          <a:off x="473311" y="3857198"/>
          <a:ext cx="5335542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13720">
                  <a:extLst>
                    <a:ext uri="{9D8B030D-6E8A-4147-A177-3AD203B41FA5}">
                      <a16:colId xmlns:a16="http://schemas.microsoft.com/office/drawing/2014/main" val="3991795899"/>
                    </a:ext>
                  </a:extLst>
                </a:gridCol>
                <a:gridCol w="1634836">
                  <a:extLst>
                    <a:ext uri="{9D8B030D-6E8A-4147-A177-3AD203B41FA5}">
                      <a16:colId xmlns:a16="http://schemas.microsoft.com/office/drawing/2014/main" val="3107963361"/>
                    </a:ext>
                  </a:extLst>
                </a:gridCol>
                <a:gridCol w="1586986">
                  <a:extLst>
                    <a:ext uri="{9D8B030D-6E8A-4147-A177-3AD203B41FA5}">
                      <a16:colId xmlns:a16="http://schemas.microsoft.com/office/drawing/2014/main" val="266399568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b-NO" sz="1600" dirty="0"/>
                        <a:t>Nav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 dirty="0"/>
                        <a:t>EB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 dirty="0"/>
                        <a:t>RD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14603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 dirty="0" err="1"/>
                        <a:t>Hodnaberg</a:t>
                      </a:r>
                      <a:endParaRPr lang="nb-NO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 dirty="0"/>
                        <a:t>1102 &amp; 127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 dirty="0"/>
                        <a:t>EF-1-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12593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 dirty="0"/>
                        <a:t>Kaldest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 dirty="0"/>
                        <a:t>1102 &amp; 127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 dirty="0"/>
                        <a:t>EF-1-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06602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 dirty="0"/>
                        <a:t>Fos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37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dirty="0"/>
                        <a:t>1102 &amp; 127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 dirty="0"/>
                        <a:t>EF-1-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61031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 dirty="0"/>
                        <a:t>Da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37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dirty="0"/>
                        <a:t>1102 &amp; 127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37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dirty="0"/>
                        <a:t>EF-1-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68291321"/>
                  </a:ext>
                </a:extLst>
              </a:tr>
            </a:tbl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3E296F22-52B1-E17A-6999-801F946E8E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09215" y="128125"/>
            <a:ext cx="4473186" cy="6655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15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-tema">
  <a:themeElements>
    <a:clrScheme name="Office-tema">
      <a:dk1>
        <a:sysClr val="windowText" lastClr="000000"/>
      </a:dk1>
      <a:lt1>
        <a:srgbClr val="FAFDFA"/>
      </a:lt1>
      <a:dk2>
        <a:srgbClr val="1B5B59"/>
      </a:dk2>
      <a:lt2>
        <a:srgbClr val="76E691"/>
      </a:lt2>
      <a:accent1>
        <a:srgbClr val="55B077"/>
      </a:accent1>
      <a:accent2>
        <a:srgbClr val="2519FF"/>
      </a:accent2>
      <a:accent3>
        <a:srgbClr val="E1C3FF"/>
      </a:accent3>
      <a:accent4>
        <a:srgbClr val="FCD300"/>
      </a:accent4>
      <a:accent5>
        <a:srgbClr val="FCA50D"/>
      </a:accent5>
      <a:accent6>
        <a:srgbClr val="FC6D19"/>
      </a:accent6>
      <a:hlink>
        <a:srgbClr val="0563C1"/>
      </a:hlink>
      <a:folHlink>
        <a:srgbClr val="954F72"/>
      </a:folHlink>
    </a:clrScheme>
    <a:fontScheme name="Egendefinert 48">
      <a:majorFont>
        <a:latin typeface="Bierstadt"/>
        <a:ea typeface=""/>
        <a:cs typeface=""/>
      </a:majorFont>
      <a:minorFont>
        <a:latin typeface="Bierstadt"/>
        <a:ea typeface=""/>
        <a:cs typeface="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viny_Presentasjonsmal_v1" id="{2F5ED36B-67CA-45F2-951F-D81955E2D33A}" vid="{78AFB40E-0AE1-4A59-811D-B2B1FE89D9C0}"/>
    </a:ext>
  </a:extLst>
</a:theme>
</file>

<file path=ppt/theme/theme2.xml><?xml version="1.0" encoding="utf-8"?>
<a:theme xmlns:a="http://schemas.openxmlformats.org/drawingml/2006/main" name="Office-tema">
  <a:themeElements>
    <a:clrScheme name="Office-tema">
      <a:dk1>
        <a:sysClr val="windowText" lastClr="000000"/>
      </a:dk1>
      <a:lt1>
        <a:srgbClr val="FAFDFA"/>
      </a:lt1>
      <a:dk2>
        <a:srgbClr val="1B5B59"/>
      </a:dk2>
      <a:lt2>
        <a:srgbClr val="76E691"/>
      </a:lt2>
      <a:accent1>
        <a:srgbClr val="55B077"/>
      </a:accent1>
      <a:accent2>
        <a:srgbClr val="2519FF"/>
      </a:accent2>
      <a:accent3>
        <a:srgbClr val="E1C3FF"/>
      </a:accent3>
      <a:accent4>
        <a:srgbClr val="FCD300"/>
      </a:accent4>
      <a:accent5>
        <a:srgbClr val="FCA50D"/>
      </a:accent5>
      <a:accent6>
        <a:srgbClr val="FC6D19"/>
      </a:accent6>
      <a:hlink>
        <a:srgbClr val="0563C1"/>
      </a:hlink>
      <a:folHlink>
        <a:srgbClr val="954F72"/>
      </a:folHlink>
    </a:clrScheme>
    <a:fontScheme name="Egendefinert 48">
      <a:majorFont>
        <a:latin typeface="Bierstadt"/>
        <a:ea typeface=""/>
        <a:cs typeface=""/>
      </a:majorFont>
      <a:minorFont>
        <a:latin typeface="Bierstadt"/>
        <a:ea typeface=""/>
        <a:cs typeface="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sjon3" id="{5B8E9480-551B-435A-A1C9-E312373AE038}" vid="{82216DAE-3B97-43DD-A19C-007935F31AF8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ff3b0f6-a015-4ed3-a20d-ecbefbe8cba0" xsi:nil="true"/>
    <lcf76f155ced4ddcb4097134ff3c332f xmlns="ae63efdc-7b55-4ead-90df-33cbd15d9c79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9720DD3D7CF6F4EA50A41758B544CC3" ma:contentTypeVersion="18" ma:contentTypeDescription="Opprett et nytt dokument." ma:contentTypeScope="" ma:versionID="ef78fa6e493feec6602359df0c9aa480">
  <xsd:schema xmlns:xsd="http://www.w3.org/2001/XMLSchema" xmlns:xs="http://www.w3.org/2001/XMLSchema" xmlns:p="http://schemas.microsoft.com/office/2006/metadata/properties" xmlns:ns2="ae63efdc-7b55-4ead-90df-33cbd15d9c79" xmlns:ns3="6ff3b0f6-a015-4ed3-a20d-ecbefbe8cba0" targetNamespace="http://schemas.microsoft.com/office/2006/metadata/properties" ma:root="true" ma:fieldsID="513ef0e703c21d6ebab84cf2506c09f4" ns2:_="" ns3:_="">
    <xsd:import namespace="ae63efdc-7b55-4ead-90df-33cbd15d9c79"/>
    <xsd:import namespace="6ff3b0f6-a015-4ed3-a20d-ecbefbe8cba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63efdc-7b55-4ead-90df-33cbd15d9c7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0" nillable="true" ma:taxonomy="true" ma:internalName="lcf76f155ced4ddcb4097134ff3c332f" ma:taxonomyFieldName="MediaServiceImageTags" ma:displayName="Bildemerkelapper" ma:readOnly="false" ma:fieldId="{5cf76f15-5ced-4ddc-b409-7134ff3c332f}" ma:taxonomyMulti="true" ma:sspId="0bd0674a-f7ae-4b8b-b0c6-67ceef0215a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2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f3b0f6-a015-4ed3-a20d-ecbefbe8cba0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6d941f2a-444d-4a84-abee-23349aa4e1f1}" ma:internalName="TaxCatchAll" ma:showField="CatchAllData" ma:web="6ff3b0f6-a015-4ed3-a20d-ecbefbe8cba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C6A5FEC-ED1C-4B6B-BDC2-1FC1211E2103}">
  <ds:schemaRefs>
    <ds:schemaRef ds:uri="http://schemas.microsoft.com/office/2006/metadata/properties"/>
    <ds:schemaRef ds:uri="http://www.w3.org/2000/xmlns/"/>
    <ds:schemaRef ds:uri="6ff3b0f6-a015-4ed3-a20d-ecbefbe8cba0"/>
    <ds:schemaRef ds:uri="http://www.w3.org/2001/XMLSchema-instance"/>
    <ds:schemaRef ds:uri="ae63efdc-7b55-4ead-90df-33cbd15d9c79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34E2C8E5-B918-4FAC-910A-5605B7711FFD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ae63efdc-7b55-4ead-90df-33cbd15d9c79"/>
    <ds:schemaRef ds:uri="6ff3b0f6-a015-4ed3-a20d-ecbefbe8cba0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E030379-7CEB-4355-834B-790F6A56EA31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b83c2636-b986-4bb9-9171-895989e09a52}" enabled="1" method="Standard" siteId="{12f1bdca-9eec-45f6-a63e-2061b957e8ee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Dataansvar</Template>
  <TotalTime>2069</TotalTime>
  <Words>1106</Words>
  <Application>Microsoft Office PowerPoint</Application>
  <PresentationFormat>Widescreen</PresentationFormat>
  <Paragraphs>187</Paragraphs>
  <Slides>18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7" baseType="lpstr">
      <vt:lpstr>Aptos</vt:lpstr>
      <vt:lpstr>Arial</vt:lpstr>
      <vt:lpstr>atyp-text-medium</vt:lpstr>
      <vt:lpstr>Bierstadt</vt:lpstr>
      <vt:lpstr>Georgia</vt:lpstr>
      <vt:lpstr>Wingdings</vt:lpstr>
      <vt:lpstr>2_Office-tema</vt:lpstr>
      <vt:lpstr>Office-tema</vt:lpstr>
      <vt:lpstr>think-cell Slide</vt:lpstr>
      <vt:lpstr>Verdien av RDS</vt:lpstr>
      <vt:lpstr>Våre vassdrag</vt:lpstr>
      <vt:lpstr>EBL vs RDS</vt:lpstr>
      <vt:lpstr>Brukereksempel RDS</vt:lpstr>
      <vt:lpstr>Strategisk tilknytning</vt:lpstr>
      <vt:lpstr>PowerPoint Presentation</vt:lpstr>
      <vt:lpstr>IEC 81346-1 - Basic rules IEC 81346-2 - Classification of objects and codes for classes ISO/IEC 81346-10 – Power Systems</vt:lpstr>
      <vt:lpstr>Vassdrag</vt:lpstr>
      <vt:lpstr>Vassdrag</vt:lpstr>
      <vt:lpstr>PowerPoint Presentation</vt:lpstr>
      <vt:lpstr>PowerPoint Presentation</vt:lpstr>
      <vt:lpstr>Funksjon og produktaspekt</vt:lpstr>
      <vt:lpstr>Produktaspektet                                               Funksjonsaspektet</vt:lpstr>
      <vt:lpstr>Bygningsdeler uten bruk av CW</vt:lpstr>
      <vt:lpstr>Utarbeidelse av en fullstendig mal</vt:lpstr>
      <vt:lpstr>PowerPoint Presentation</vt:lpstr>
      <vt:lpstr>Veien videre</vt:lpstr>
      <vt:lpstr>Link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erdien av RDS</dc:title>
  <dc:creator>Jan Heiberg-Andersen</dc:creator>
  <cp:lastModifiedBy>Stian Dyrdal</cp:lastModifiedBy>
  <cp:revision>3</cp:revision>
  <dcterms:created xsi:type="dcterms:W3CDTF">2024-04-25T11:15:32Z</dcterms:created>
  <dcterms:modified xsi:type="dcterms:W3CDTF">2024-06-06T11:37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9720DD3D7CF6F4EA50A41758B544CC3</vt:lpwstr>
  </property>
  <property fmtid="{D5CDD505-2E9C-101B-9397-08002B2CF9AE}" pid="3" name="MediaServiceImageTags">
    <vt:lpwstr/>
  </property>
</Properties>
</file>